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72" r:id="rId1"/>
  </p:sldMasterIdLst>
  <p:notesMasterIdLst>
    <p:notesMasterId r:id="rId90"/>
  </p:notesMasterIdLst>
  <p:sldIdLst>
    <p:sldId id="2134806652" r:id="rId2"/>
    <p:sldId id="2134806653" r:id="rId3"/>
    <p:sldId id="2134806654" r:id="rId4"/>
    <p:sldId id="2134806249" r:id="rId5"/>
    <p:sldId id="2134806655" r:id="rId6"/>
    <p:sldId id="2134806405" r:id="rId7"/>
    <p:sldId id="2134806406" r:id="rId8"/>
    <p:sldId id="2134806656" r:id="rId9"/>
    <p:sldId id="2134806400" r:id="rId10"/>
    <p:sldId id="2134806570" r:id="rId11"/>
    <p:sldId id="2134806571" r:id="rId12"/>
    <p:sldId id="2134806572" r:id="rId13"/>
    <p:sldId id="2134806624" r:id="rId14"/>
    <p:sldId id="2134806625" r:id="rId15"/>
    <p:sldId id="2134806626" r:id="rId16"/>
    <p:sldId id="2134806627" r:id="rId17"/>
    <p:sldId id="2134806410" r:id="rId18"/>
    <p:sldId id="2134806497" r:id="rId19"/>
    <p:sldId id="2134806657" r:id="rId20"/>
    <p:sldId id="2134806444" r:id="rId21"/>
    <p:sldId id="2134806581" r:id="rId22"/>
    <p:sldId id="2134806582" r:id="rId23"/>
    <p:sldId id="2134806583" r:id="rId24"/>
    <p:sldId id="2134806445" r:id="rId25"/>
    <p:sldId id="2134806584" r:id="rId26"/>
    <p:sldId id="2134806451" r:id="rId27"/>
    <p:sldId id="2134806587" r:id="rId28"/>
    <p:sldId id="2134806591" r:id="rId29"/>
    <p:sldId id="2134806181" r:id="rId30"/>
    <p:sldId id="2134806501" r:id="rId31"/>
    <p:sldId id="2134806592" r:id="rId32"/>
    <p:sldId id="2134806593" r:id="rId33"/>
    <p:sldId id="2134806594" r:id="rId34"/>
    <p:sldId id="2134806599" r:id="rId35"/>
    <p:sldId id="2134806600" r:id="rId36"/>
    <p:sldId id="2134806604" r:id="rId37"/>
    <p:sldId id="2134806605" r:id="rId38"/>
    <p:sldId id="2134806609" r:id="rId39"/>
    <p:sldId id="2134806628" r:id="rId40"/>
    <p:sldId id="2134806632" r:id="rId41"/>
    <p:sldId id="2134806658" r:id="rId42"/>
    <p:sldId id="2134806533" r:id="rId43"/>
    <p:sldId id="2134806610" r:id="rId44"/>
    <p:sldId id="2134806612" r:id="rId45"/>
    <p:sldId id="2134806613" r:id="rId46"/>
    <p:sldId id="2134806615" r:id="rId47"/>
    <p:sldId id="2134806659" r:id="rId48"/>
    <p:sldId id="2134806453" r:id="rId49"/>
    <p:sldId id="2134806540" r:id="rId50"/>
    <p:sldId id="2134806616" r:id="rId51"/>
    <p:sldId id="2134806458" r:id="rId52"/>
    <p:sldId id="2134806459" r:id="rId53"/>
    <p:sldId id="2134806462" r:id="rId54"/>
    <p:sldId id="2134806463" r:id="rId55"/>
    <p:sldId id="2134806477" r:id="rId56"/>
    <p:sldId id="2134806545" r:id="rId57"/>
    <p:sldId id="2134806546" r:id="rId58"/>
    <p:sldId id="2134806618" r:id="rId59"/>
    <p:sldId id="2134806619" r:id="rId60"/>
    <p:sldId id="2134806620" r:id="rId61"/>
    <p:sldId id="2134806621" r:id="rId62"/>
    <p:sldId id="2134806622" r:id="rId63"/>
    <p:sldId id="2134806633" r:id="rId64"/>
    <p:sldId id="2134806634" r:id="rId65"/>
    <p:sldId id="2134806650" r:id="rId66"/>
    <p:sldId id="2134806651" r:id="rId67"/>
    <p:sldId id="2134806635" r:id="rId68"/>
    <p:sldId id="2134806636" r:id="rId69"/>
    <p:sldId id="2134806637" r:id="rId70"/>
    <p:sldId id="2134806638" r:id="rId71"/>
    <p:sldId id="2134806639" r:id="rId72"/>
    <p:sldId id="2134806640" r:id="rId73"/>
    <p:sldId id="2134806641" r:id="rId74"/>
    <p:sldId id="2134806642" r:id="rId75"/>
    <p:sldId id="2134806643" r:id="rId76"/>
    <p:sldId id="2134806644" r:id="rId77"/>
    <p:sldId id="2134806645" r:id="rId78"/>
    <p:sldId id="2134806646" r:id="rId79"/>
    <p:sldId id="2134806647" r:id="rId80"/>
    <p:sldId id="2134806648" r:id="rId81"/>
    <p:sldId id="2134806649" r:id="rId82"/>
    <p:sldId id="2134806660" r:id="rId83"/>
    <p:sldId id="2134806475" r:id="rId84"/>
    <p:sldId id="2134806489" r:id="rId85"/>
    <p:sldId id="2134806661" r:id="rId86"/>
    <p:sldId id="2134806494" r:id="rId87"/>
    <p:sldId id="2134806495" r:id="rId88"/>
    <p:sldId id="2134806496" r:id="rId89"/>
  </p:sldIdLst>
  <p:sldSz cx="9144000" cy="6858000" type="screen4x3"/>
  <p:notesSz cx="6858000" cy="9144000"/>
  <p:embeddedFontLst>
    <p:embeddedFont>
      <p:font typeface="BelleAllureCE" panose="02000803000000000000" pitchFamily="50" charset="0"/>
      <p:bold r:id="rId91"/>
    </p:embeddedFont>
    <p:embeddedFont>
      <p:font typeface="Cambria" panose="02040503050406030204" pitchFamily="18" charset="0"/>
      <p:regular r:id="rId92"/>
      <p:bold r:id="rId93"/>
      <p:italic r:id="rId94"/>
      <p:boldItalic r:id="rId95"/>
    </p:embeddedFont>
    <p:embeddedFont>
      <p:font typeface="Dosis" pitchFamily="2" charset="0"/>
      <p:regular r:id="rId96"/>
      <p:bold r:id="rId97"/>
    </p:embeddedFont>
    <p:embeddedFont>
      <p:font typeface="Microsoft Uighur" panose="02000000000000000000" pitchFamily="2" charset="-78"/>
      <p:regular r:id="rId98"/>
      <p:bold r:id="rId99"/>
    </p:embeddedFont>
  </p:embeddedFont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A7FBB52-A209-4350-A6C8-DCE7C2CB10A7}" v="652" dt="2024-11-12T05:27:59.49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1594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theme" Target="theme/theme1.xml"/><Relationship Id="rId5" Type="http://schemas.openxmlformats.org/officeDocument/2006/relationships/slide" Target="slides/slide4.xml"/><Relationship Id="rId90" Type="http://schemas.openxmlformats.org/officeDocument/2006/relationships/notesMaster" Target="notesMasters/notesMaster1.xml"/><Relationship Id="rId95" Type="http://schemas.openxmlformats.org/officeDocument/2006/relationships/font" Target="fonts/font5.fntdata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font" Target="fonts/font1.fntdata"/><Relationship Id="rId96" Type="http://schemas.openxmlformats.org/officeDocument/2006/relationships/font" Target="fonts/font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font" Target="fonts/font4.fntdata"/><Relationship Id="rId99" Type="http://schemas.openxmlformats.org/officeDocument/2006/relationships/font" Target="fonts/font9.fntdata"/><Relationship Id="rId10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font" Target="fonts/font7.fntdata"/><Relationship Id="rId104" Type="http://schemas.microsoft.com/office/2016/11/relationships/changesInfo" Target="changesInfos/changesInfo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font" Target="fonts/font2.fntdata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presProps" Target="presProps.xml"/><Relationship Id="rId105" Type="http://schemas.microsoft.com/office/2015/10/relationships/revisionInfo" Target="revisionInfo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font" Target="fonts/font3.fntdata"/><Relationship Id="rId98" Type="http://schemas.openxmlformats.org/officeDocument/2006/relationships/font" Target="fonts/font8.fntdata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ohamed Ibissi" userId="90b6f8706c8cb808" providerId="LiveId" clId="{0A7FBB52-A209-4350-A6C8-DCE7C2CB10A7}"/>
    <pc:docChg chg="undo custSel addSld delSld modSld sldOrd">
      <pc:chgData name="Mohamed Ibissi" userId="90b6f8706c8cb808" providerId="LiveId" clId="{0A7FBB52-A209-4350-A6C8-DCE7C2CB10A7}" dt="2024-11-12T15:12:25.049" v="2739"/>
      <pc:docMkLst>
        <pc:docMk/>
      </pc:docMkLst>
      <pc:sldChg chg="modSp mod">
        <pc:chgData name="Mohamed Ibissi" userId="90b6f8706c8cb808" providerId="LiveId" clId="{0A7FBB52-A209-4350-A6C8-DCE7C2CB10A7}" dt="2024-11-10T03:19:45.864" v="12" actId="20577"/>
        <pc:sldMkLst>
          <pc:docMk/>
          <pc:sldMk cId="0" sldId="2134805620"/>
        </pc:sldMkLst>
        <pc:spChg chg="mod">
          <ac:chgData name="Mohamed Ibissi" userId="90b6f8706c8cb808" providerId="LiveId" clId="{0A7FBB52-A209-4350-A6C8-DCE7C2CB10A7}" dt="2024-11-10T03:19:45.864" v="12" actId="20577"/>
          <ac:spMkLst>
            <pc:docMk/>
            <pc:sldMk cId="0" sldId="2134805620"/>
            <ac:spMk id="12" creationId="{4AE25B26-34DC-5EA0-A92C-85A13952DA61}"/>
          </ac:spMkLst>
        </pc:spChg>
      </pc:sldChg>
      <pc:sldChg chg="addSp modSp mod">
        <pc:chgData name="Mohamed Ibissi" userId="90b6f8706c8cb808" providerId="LiveId" clId="{0A7FBB52-A209-4350-A6C8-DCE7C2CB10A7}" dt="2024-11-10T03:17:20.457" v="5" actId="1076"/>
        <pc:sldMkLst>
          <pc:docMk/>
          <pc:sldMk cId="2143923266" sldId="2134805631"/>
        </pc:sldMkLst>
        <pc:picChg chg="add mod">
          <ac:chgData name="Mohamed Ibissi" userId="90b6f8706c8cb808" providerId="LiveId" clId="{0A7FBB52-A209-4350-A6C8-DCE7C2CB10A7}" dt="2024-11-10T03:17:20.457" v="5" actId="1076"/>
          <ac:picMkLst>
            <pc:docMk/>
            <pc:sldMk cId="2143923266" sldId="2134805631"/>
            <ac:picMk id="8" creationId="{04EFB5BA-61ED-5686-1665-D6809A1FC01F}"/>
          </ac:picMkLst>
        </pc:picChg>
      </pc:sldChg>
      <pc:sldChg chg="modSp mod">
        <pc:chgData name="Mohamed Ibissi" userId="90b6f8706c8cb808" providerId="LiveId" clId="{0A7FBB52-A209-4350-A6C8-DCE7C2CB10A7}" dt="2024-11-10T03:20:28.675" v="30" actId="20577"/>
        <pc:sldMkLst>
          <pc:docMk/>
          <pc:sldMk cId="31310502" sldId="2134805741"/>
        </pc:sldMkLst>
        <pc:spChg chg="mod">
          <ac:chgData name="Mohamed Ibissi" userId="90b6f8706c8cb808" providerId="LiveId" clId="{0A7FBB52-A209-4350-A6C8-DCE7C2CB10A7}" dt="2024-11-10T03:20:28.675" v="30" actId="20577"/>
          <ac:spMkLst>
            <pc:docMk/>
            <pc:sldMk cId="31310502" sldId="2134805741"/>
            <ac:spMk id="2" creationId="{5D5EC3F9-B576-AAD3-32E6-690B5DFDA61D}"/>
          </ac:spMkLst>
        </pc:spChg>
      </pc:sldChg>
      <pc:sldChg chg="modSp add mod">
        <pc:chgData name="Mohamed Ibissi" userId="90b6f8706c8cb808" providerId="LiveId" clId="{0A7FBB52-A209-4350-A6C8-DCE7C2CB10A7}" dt="2024-11-12T14:56:46.361" v="2632" actId="404"/>
        <pc:sldMkLst>
          <pc:docMk/>
          <pc:sldMk cId="3317191076" sldId="2134806249"/>
        </pc:sldMkLst>
        <pc:spChg chg="mod">
          <ac:chgData name="Mohamed Ibissi" userId="90b6f8706c8cb808" providerId="LiveId" clId="{0A7FBB52-A209-4350-A6C8-DCE7C2CB10A7}" dt="2024-11-12T14:56:46.361" v="2632" actId="404"/>
          <ac:spMkLst>
            <pc:docMk/>
            <pc:sldMk cId="3317191076" sldId="2134806249"/>
            <ac:spMk id="3" creationId="{005BB650-C35C-07B8-6BB6-71E49C4EA744}"/>
          </ac:spMkLst>
        </pc:spChg>
        <pc:spChg chg="mod">
          <ac:chgData name="Mohamed Ibissi" userId="90b6f8706c8cb808" providerId="LiveId" clId="{0A7FBB52-A209-4350-A6C8-DCE7C2CB10A7}" dt="2024-11-12T14:56:46.361" v="2632" actId="404"/>
          <ac:spMkLst>
            <pc:docMk/>
            <pc:sldMk cId="3317191076" sldId="2134806249"/>
            <ac:spMk id="26" creationId="{C4791D1A-237F-DFDF-87F2-967A8A1A944B}"/>
          </ac:spMkLst>
        </pc:spChg>
        <pc:spChg chg="mod">
          <ac:chgData name="Mohamed Ibissi" userId="90b6f8706c8cb808" providerId="LiveId" clId="{0A7FBB52-A209-4350-A6C8-DCE7C2CB10A7}" dt="2024-11-12T14:56:46.361" v="2632" actId="404"/>
          <ac:spMkLst>
            <pc:docMk/>
            <pc:sldMk cId="3317191076" sldId="2134806249"/>
            <ac:spMk id="27" creationId="{7514BC20-DCAA-097A-963C-3C62B1138CEB}"/>
          </ac:spMkLst>
        </pc:spChg>
        <pc:spChg chg="mod">
          <ac:chgData name="Mohamed Ibissi" userId="90b6f8706c8cb808" providerId="LiveId" clId="{0A7FBB52-A209-4350-A6C8-DCE7C2CB10A7}" dt="2024-11-12T14:56:46.361" v="2632" actId="404"/>
          <ac:spMkLst>
            <pc:docMk/>
            <pc:sldMk cId="3317191076" sldId="2134806249"/>
            <ac:spMk id="29" creationId="{C9664CAF-E9EA-FF81-C096-F576958011E5}"/>
          </ac:spMkLst>
        </pc:spChg>
        <pc:spChg chg="mod">
          <ac:chgData name="Mohamed Ibissi" userId="90b6f8706c8cb808" providerId="LiveId" clId="{0A7FBB52-A209-4350-A6C8-DCE7C2CB10A7}" dt="2024-11-12T14:56:46.361" v="2632" actId="404"/>
          <ac:spMkLst>
            <pc:docMk/>
            <pc:sldMk cId="3317191076" sldId="2134806249"/>
            <ac:spMk id="30" creationId="{9B55B03F-0996-CDCC-E5DF-A6437BA3223D}"/>
          </ac:spMkLst>
        </pc:spChg>
        <pc:spChg chg="mod">
          <ac:chgData name="Mohamed Ibissi" userId="90b6f8706c8cb808" providerId="LiveId" clId="{0A7FBB52-A209-4350-A6C8-DCE7C2CB10A7}" dt="2024-11-12T14:56:46.361" v="2632" actId="404"/>
          <ac:spMkLst>
            <pc:docMk/>
            <pc:sldMk cId="3317191076" sldId="2134806249"/>
            <ac:spMk id="32" creationId="{A9DABFE0-70C8-684C-B5AF-C1D7B97901FC}"/>
          </ac:spMkLst>
        </pc:spChg>
        <pc:spChg chg="mod">
          <ac:chgData name="Mohamed Ibissi" userId="90b6f8706c8cb808" providerId="LiveId" clId="{0A7FBB52-A209-4350-A6C8-DCE7C2CB10A7}" dt="2024-11-12T14:56:46.361" v="2632" actId="404"/>
          <ac:spMkLst>
            <pc:docMk/>
            <pc:sldMk cId="3317191076" sldId="2134806249"/>
            <ac:spMk id="33" creationId="{78F93B5D-E5A1-C1F3-EA0E-CE08E76CD02C}"/>
          </ac:spMkLst>
        </pc:spChg>
        <pc:spChg chg="mod">
          <ac:chgData name="Mohamed Ibissi" userId="90b6f8706c8cb808" providerId="LiveId" clId="{0A7FBB52-A209-4350-A6C8-DCE7C2CB10A7}" dt="2024-11-12T14:56:46.361" v="2632" actId="404"/>
          <ac:spMkLst>
            <pc:docMk/>
            <pc:sldMk cId="3317191076" sldId="2134806249"/>
            <ac:spMk id="36" creationId="{83B9A300-CA53-64F3-F908-C262E606C7CC}"/>
          </ac:spMkLst>
        </pc:spChg>
        <pc:spChg chg="mod">
          <ac:chgData name="Mohamed Ibissi" userId="90b6f8706c8cb808" providerId="LiveId" clId="{0A7FBB52-A209-4350-A6C8-DCE7C2CB10A7}" dt="2024-11-12T14:56:46.361" v="2632" actId="404"/>
          <ac:spMkLst>
            <pc:docMk/>
            <pc:sldMk cId="3317191076" sldId="2134806249"/>
            <ac:spMk id="44" creationId="{2BE61A74-F657-A74B-9E0C-C38627C06DC1}"/>
          </ac:spMkLst>
        </pc:spChg>
        <pc:spChg chg="mod">
          <ac:chgData name="Mohamed Ibissi" userId="90b6f8706c8cb808" providerId="LiveId" clId="{0A7FBB52-A209-4350-A6C8-DCE7C2CB10A7}" dt="2024-11-12T14:56:46.361" v="2632" actId="404"/>
          <ac:spMkLst>
            <pc:docMk/>
            <pc:sldMk cId="3317191076" sldId="2134806249"/>
            <ac:spMk id="45" creationId="{5A3D4305-FB29-7796-6B8C-33685E968CAF}"/>
          </ac:spMkLst>
        </pc:spChg>
      </pc:sldChg>
      <pc:sldChg chg="addSp delSp modSp mod">
        <pc:chgData name="Mohamed Ibissi" userId="90b6f8706c8cb808" providerId="LiveId" clId="{0A7FBB52-A209-4350-A6C8-DCE7C2CB10A7}" dt="2024-11-11T00:51:23.140" v="2307" actId="478"/>
        <pc:sldMkLst>
          <pc:docMk/>
          <pc:sldMk cId="1811523996" sldId="2134806400"/>
        </pc:sldMkLst>
        <pc:spChg chg="add del mod">
          <ac:chgData name="Mohamed Ibissi" userId="90b6f8706c8cb808" providerId="LiveId" clId="{0A7FBB52-A209-4350-A6C8-DCE7C2CB10A7}" dt="2024-11-11T00:41:43.655" v="2283" actId="21"/>
          <ac:spMkLst>
            <pc:docMk/>
            <pc:sldMk cId="1811523996" sldId="2134806400"/>
            <ac:spMk id="3" creationId="{40BE7BBE-AC94-334E-B56D-EDA200491676}"/>
          </ac:spMkLst>
        </pc:spChg>
        <pc:spChg chg="add mod">
          <ac:chgData name="Mohamed Ibissi" userId="90b6f8706c8cb808" providerId="LiveId" clId="{0A7FBB52-A209-4350-A6C8-DCE7C2CB10A7}" dt="2024-11-11T00:47:19.378" v="2291"/>
          <ac:spMkLst>
            <pc:docMk/>
            <pc:sldMk cId="1811523996" sldId="2134806400"/>
            <ac:spMk id="8" creationId="{B7C89B35-2242-7716-7CCC-D135E8FD9005}"/>
          </ac:spMkLst>
        </pc:spChg>
        <pc:graphicFrameChg chg="add del modGraphic">
          <ac:chgData name="Mohamed Ibissi" userId="90b6f8706c8cb808" providerId="LiveId" clId="{0A7FBB52-A209-4350-A6C8-DCE7C2CB10A7}" dt="2024-11-11T00:51:23.140" v="2307" actId="478"/>
          <ac:graphicFrameMkLst>
            <pc:docMk/>
            <pc:sldMk cId="1811523996" sldId="2134806400"/>
            <ac:graphicFrameMk id="7" creationId="{9075F1F5-A224-8D97-6161-84BC8DE54251}"/>
          </ac:graphicFrameMkLst>
        </pc:graphicFrameChg>
        <pc:picChg chg="add del mod">
          <ac:chgData name="Mohamed Ibissi" userId="90b6f8706c8cb808" providerId="LiveId" clId="{0A7FBB52-A209-4350-A6C8-DCE7C2CB10A7}" dt="2024-11-11T00:41:14.760" v="2278" actId="478"/>
          <ac:picMkLst>
            <pc:docMk/>
            <pc:sldMk cId="1811523996" sldId="2134806400"/>
            <ac:picMk id="2" creationId="{85D3DB7B-B597-57C0-A03D-89505427BECB}"/>
          </ac:picMkLst>
        </pc:picChg>
        <pc:picChg chg="add mod ord">
          <ac:chgData name="Mohamed Ibissi" userId="90b6f8706c8cb808" providerId="LiveId" clId="{0A7FBB52-A209-4350-A6C8-DCE7C2CB10A7}" dt="2024-11-11T00:44:16.396" v="2290" actId="167"/>
          <ac:picMkLst>
            <pc:docMk/>
            <pc:sldMk cId="1811523996" sldId="2134806400"/>
            <ac:picMk id="4" creationId="{EDFC0A3B-38A9-7A90-6E3F-97A7D14E7652}"/>
          </ac:picMkLst>
        </pc:picChg>
        <pc:picChg chg="add del mod">
          <ac:chgData name="Mohamed Ibissi" userId="90b6f8706c8cb808" providerId="LiveId" clId="{0A7FBB52-A209-4350-A6C8-DCE7C2CB10A7}" dt="2024-11-11T00:48:49.189" v="2300" actId="21"/>
          <ac:picMkLst>
            <pc:docMk/>
            <pc:sldMk cId="1811523996" sldId="2134806400"/>
            <ac:picMk id="9" creationId="{AE9DFD54-D67B-B50C-C3FD-A0A1584DD5B9}"/>
          </ac:picMkLst>
        </pc:picChg>
        <pc:picChg chg="add del mod ord">
          <ac:chgData name="Mohamed Ibissi" userId="90b6f8706c8cb808" providerId="LiveId" clId="{0A7FBB52-A209-4350-A6C8-DCE7C2CB10A7}" dt="2024-11-11T00:51:17.105" v="2306" actId="478"/>
          <ac:picMkLst>
            <pc:docMk/>
            <pc:sldMk cId="1811523996" sldId="2134806400"/>
            <ac:picMk id="10" creationId="{7C0F6729-E522-DE33-B3A9-7EEF98402CB1}"/>
          </ac:picMkLst>
        </pc:picChg>
      </pc:sldChg>
      <pc:sldChg chg="modSp">
        <pc:chgData name="Mohamed Ibissi" userId="90b6f8706c8cb808" providerId="LiveId" clId="{0A7FBB52-A209-4350-A6C8-DCE7C2CB10A7}" dt="2024-11-10T03:18:14.515" v="6" actId="14826"/>
        <pc:sldMkLst>
          <pc:docMk/>
          <pc:sldMk cId="561069862" sldId="2134806403"/>
        </pc:sldMkLst>
        <pc:picChg chg="mod">
          <ac:chgData name="Mohamed Ibissi" userId="90b6f8706c8cb808" providerId="LiveId" clId="{0A7FBB52-A209-4350-A6C8-DCE7C2CB10A7}" dt="2024-11-10T03:18:14.515" v="6" actId="14826"/>
          <ac:picMkLst>
            <pc:docMk/>
            <pc:sldMk cId="561069862" sldId="2134806403"/>
            <ac:picMk id="23" creationId="{0143C57D-A2FA-01FE-5D75-2F61EA5C90F8}"/>
          </ac:picMkLst>
        </pc:picChg>
      </pc:sldChg>
      <pc:sldChg chg="addSp modSp mod">
        <pc:chgData name="Mohamed Ibissi" userId="90b6f8706c8cb808" providerId="LiveId" clId="{0A7FBB52-A209-4350-A6C8-DCE7C2CB10A7}" dt="2024-11-12T14:57:11.377" v="2634" actId="1076"/>
        <pc:sldMkLst>
          <pc:docMk/>
          <pc:sldMk cId="2847131082" sldId="2134806406"/>
        </pc:sldMkLst>
        <pc:spChg chg="mod">
          <ac:chgData name="Mohamed Ibissi" userId="90b6f8706c8cb808" providerId="LiveId" clId="{0A7FBB52-A209-4350-A6C8-DCE7C2CB10A7}" dt="2024-11-10T03:21:17.252" v="33" actId="20577"/>
          <ac:spMkLst>
            <pc:docMk/>
            <pc:sldMk cId="2847131082" sldId="2134806406"/>
            <ac:spMk id="8" creationId="{407B291E-39AB-ED59-91BB-808EBC9ED614}"/>
          </ac:spMkLst>
        </pc:spChg>
        <pc:spChg chg="add mod">
          <ac:chgData name="Mohamed Ibissi" userId="90b6f8706c8cb808" providerId="LiveId" clId="{0A7FBB52-A209-4350-A6C8-DCE7C2CB10A7}" dt="2024-11-11T17:16:14.078" v="2623"/>
          <ac:spMkLst>
            <pc:docMk/>
            <pc:sldMk cId="2847131082" sldId="2134806406"/>
            <ac:spMk id="9" creationId="{06969316-D502-BE78-1B94-FE9FEFDCBF13}"/>
          </ac:spMkLst>
        </pc:spChg>
        <pc:picChg chg="add mod">
          <ac:chgData name="Mohamed Ibissi" userId="90b6f8706c8cb808" providerId="LiveId" clId="{0A7FBB52-A209-4350-A6C8-DCE7C2CB10A7}" dt="2024-11-12T14:57:11.377" v="2634" actId="1076"/>
          <ac:picMkLst>
            <pc:docMk/>
            <pc:sldMk cId="2847131082" sldId="2134806406"/>
            <ac:picMk id="10" creationId="{0EF2E8A1-FB93-F01D-4E55-E63ABBEC4E97}"/>
          </ac:picMkLst>
        </pc:picChg>
      </pc:sldChg>
      <pc:sldChg chg="del">
        <pc:chgData name="Mohamed Ibissi" userId="90b6f8706c8cb808" providerId="LiveId" clId="{0A7FBB52-A209-4350-A6C8-DCE7C2CB10A7}" dt="2024-11-10T03:21:40.204" v="34" actId="47"/>
        <pc:sldMkLst>
          <pc:docMk/>
          <pc:sldMk cId="2264257768" sldId="2134806409"/>
        </pc:sldMkLst>
      </pc:sldChg>
      <pc:sldChg chg="addSp delSp modSp mod">
        <pc:chgData name="Mohamed Ibissi" userId="90b6f8706c8cb808" providerId="LiveId" clId="{0A7FBB52-A209-4350-A6C8-DCE7C2CB10A7}" dt="2024-11-11T00:56:29.559" v="2337" actId="167"/>
        <pc:sldMkLst>
          <pc:docMk/>
          <pc:sldMk cId="1924709726" sldId="2134806410"/>
        </pc:sldMkLst>
        <pc:spChg chg="mod">
          <ac:chgData name="Mohamed Ibissi" userId="90b6f8706c8cb808" providerId="LiveId" clId="{0A7FBB52-A209-4350-A6C8-DCE7C2CB10A7}" dt="2024-11-10T03:41:57.824" v="232" actId="20577"/>
          <ac:spMkLst>
            <pc:docMk/>
            <pc:sldMk cId="1924709726" sldId="2134806410"/>
            <ac:spMk id="14" creationId="{AE544309-051C-0E1E-5D0D-1DAA508C1338}"/>
          </ac:spMkLst>
        </pc:spChg>
        <pc:graphicFrameChg chg="del">
          <ac:chgData name="Mohamed Ibissi" userId="90b6f8706c8cb808" providerId="LiveId" clId="{0A7FBB52-A209-4350-A6C8-DCE7C2CB10A7}" dt="2024-11-11T00:56:22.758" v="2335" actId="478"/>
          <ac:graphicFrameMkLst>
            <pc:docMk/>
            <pc:sldMk cId="1924709726" sldId="2134806410"/>
            <ac:graphicFrameMk id="2" creationId="{68B52E85-9EF5-47DA-B64D-8DCE1F6D24DF}"/>
          </ac:graphicFrameMkLst>
        </pc:graphicFrameChg>
        <pc:picChg chg="mod">
          <ac:chgData name="Mohamed Ibissi" userId="90b6f8706c8cb808" providerId="LiveId" clId="{0A7FBB52-A209-4350-A6C8-DCE7C2CB10A7}" dt="2024-11-10T03:48:21.275" v="241" actId="1076"/>
          <ac:picMkLst>
            <pc:docMk/>
            <pc:sldMk cId="1924709726" sldId="2134806410"/>
            <ac:picMk id="3" creationId="{F0E29129-FCFD-75F5-BDC7-E4B83BB545D7}"/>
          </ac:picMkLst>
        </pc:picChg>
        <pc:picChg chg="add mod ord">
          <ac:chgData name="Mohamed Ibissi" userId="90b6f8706c8cb808" providerId="LiveId" clId="{0A7FBB52-A209-4350-A6C8-DCE7C2CB10A7}" dt="2024-11-11T00:56:29.559" v="2337" actId="167"/>
          <ac:picMkLst>
            <pc:docMk/>
            <pc:sldMk cId="1924709726" sldId="2134806410"/>
            <ac:picMk id="4" creationId="{FED0AD2F-6EF6-79F3-4517-CDB4EB5B2D4A}"/>
          </ac:picMkLst>
        </pc:picChg>
      </pc:sldChg>
      <pc:sldChg chg="addSp delSp modSp mod">
        <pc:chgData name="Mohamed Ibissi" userId="90b6f8706c8cb808" providerId="LiveId" clId="{0A7FBB52-A209-4350-A6C8-DCE7C2CB10A7}" dt="2024-11-11T00:57:07.451" v="2343" actId="167"/>
        <pc:sldMkLst>
          <pc:docMk/>
          <pc:sldMk cId="3487738216" sldId="2134806444"/>
        </pc:sldMkLst>
        <pc:spChg chg="mod">
          <ac:chgData name="Mohamed Ibissi" userId="90b6f8706c8cb808" providerId="LiveId" clId="{0A7FBB52-A209-4350-A6C8-DCE7C2CB10A7}" dt="2024-11-10T12:46:06.524" v="279" actId="20577"/>
          <ac:spMkLst>
            <pc:docMk/>
            <pc:sldMk cId="3487738216" sldId="2134806444"/>
            <ac:spMk id="6" creationId="{B188CB11-9FE2-2A22-C350-B6425F9338BA}"/>
          </ac:spMkLst>
        </pc:spChg>
        <pc:spChg chg="mod">
          <ac:chgData name="Mohamed Ibissi" userId="90b6f8706c8cb808" providerId="LiveId" clId="{0A7FBB52-A209-4350-A6C8-DCE7C2CB10A7}" dt="2024-11-10T12:46:11.739" v="280" actId="20577"/>
          <ac:spMkLst>
            <pc:docMk/>
            <pc:sldMk cId="3487738216" sldId="2134806444"/>
            <ac:spMk id="11" creationId="{E93C7F30-5531-489E-FE4F-A792D322550E}"/>
          </ac:spMkLst>
        </pc:spChg>
        <pc:graphicFrameChg chg="del">
          <ac:chgData name="Mohamed Ibissi" userId="90b6f8706c8cb808" providerId="LiveId" clId="{0A7FBB52-A209-4350-A6C8-DCE7C2CB10A7}" dt="2024-11-11T00:57:03.354" v="2341" actId="478"/>
          <ac:graphicFrameMkLst>
            <pc:docMk/>
            <pc:sldMk cId="3487738216" sldId="2134806444"/>
            <ac:graphicFrameMk id="5" creationId="{95248005-EB6A-037B-3FF6-BA108D0B287E}"/>
          </ac:graphicFrameMkLst>
        </pc:graphicFrameChg>
        <pc:picChg chg="add mod ord">
          <ac:chgData name="Mohamed Ibissi" userId="90b6f8706c8cb808" providerId="LiveId" clId="{0A7FBB52-A209-4350-A6C8-DCE7C2CB10A7}" dt="2024-11-11T00:57:07.451" v="2343" actId="167"/>
          <ac:picMkLst>
            <pc:docMk/>
            <pc:sldMk cId="3487738216" sldId="2134806444"/>
            <ac:picMk id="2" creationId="{2D44C60C-E332-BCC0-8194-69C11A72BB90}"/>
          </ac:picMkLst>
        </pc:picChg>
        <pc:picChg chg="del">
          <ac:chgData name="Mohamed Ibissi" userId="90b6f8706c8cb808" providerId="LiveId" clId="{0A7FBB52-A209-4350-A6C8-DCE7C2CB10A7}" dt="2024-11-10T12:37:25.174" v="243" actId="478"/>
          <ac:picMkLst>
            <pc:docMk/>
            <pc:sldMk cId="3487738216" sldId="2134806444"/>
            <ac:picMk id="2" creationId="{C0E35375-1EA3-D70D-305D-7FCC251BE6F2}"/>
          </ac:picMkLst>
        </pc:picChg>
        <pc:picChg chg="del">
          <ac:chgData name="Mohamed Ibissi" userId="90b6f8706c8cb808" providerId="LiveId" clId="{0A7FBB52-A209-4350-A6C8-DCE7C2CB10A7}" dt="2024-11-10T12:37:23.558" v="242" actId="478"/>
          <ac:picMkLst>
            <pc:docMk/>
            <pc:sldMk cId="3487738216" sldId="2134806444"/>
            <ac:picMk id="3" creationId="{B4E548CA-7DDA-E300-14CE-F2DCD2D9FDB5}"/>
          </ac:picMkLst>
        </pc:picChg>
        <pc:picChg chg="add mod">
          <ac:chgData name="Mohamed Ibissi" userId="90b6f8706c8cb808" providerId="LiveId" clId="{0A7FBB52-A209-4350-A6C8-DCE7C2CB10A7}" dt="2024-11-10T12:45:52.343" v="268" actId="1038"/>
          <ac:picMkLst>
            <pc:docMk/>
            <pc:sldMk cId="3487738216" sldId="2134806444"/>
            <ac:picMk id="8" creationId="{09EAD3A2-1159-9D76-7A1A-A633BA634911}"/>
          </ac:picMkLst>
        </pc:picChg>
        <pc:picChg chg="add mod">
          <ac:chgData name="Mohamed Ibissi" userId="90b6f8706c8cb808" providerId="LiveId" clId="{0A7FBB52-A209-4350-A6C8-DCE7C2CB10A7}" dt="2024-11-10T12:45:52.343" v="268" actId="1038"/>
          <ac:picMkLst>
            <pc:docMk/>
            <pc:sldMk cId="3487738216" sldId="2134806444"/>
            <ac:picMk id="9" creationId="{CC2F2290-22F8-AF65-4F9D-956953514332}"/>
          </ac:picMkLst>
        </pc:picChg>
        <pc:picChg chg="add mod">
          <ac:chgData name="Mohamed Ibissi" userId="90b6f8706c8cb808" providerId="LiveId" clId="{0A7FBB52-A209-4350-A6C8-DCE7C2CB10A7}" dt="2024-11-10T12:45:52.343" v="268" actId="1038"/>
          <ac:picMkLst>
            <pc:docMk/>
            <pc:sldMk cId="3487738216" sldId="2134806444"/>
            <ac:picMk id="10" creationId="{F1685F51-FEC5-AA0C-B58E-0E294A0B57E8}"/>
          </ac:picMkLst>
        </pc:picChg>
        <pc:picChg chg="add mod">
          <ac:chgData name="Mohamed Ibissi" userId="90b6f8706c8cb808" providerId="LiveId" clId="{0A7FBB52-A209-4350-A6C8-DCE7C2CB10A7}" dt="2024-11-10T12:45:52.343" v="268" actId="1038"/>
          <ac:picMkLst>
            <pc:docMk/>
            <pc:sldMk cId="3487738216" sldId="2134806444"/>
            <ac:picMk id="12" creationId="{7FA20F4A-A9D0-83E8-BEE5-D25729497BB4}"/>
          </ac:picMkLst>
        </pc:picChg>
      </pc:sldChg>
      <pc:sldChg chg="addSp delSp modSp mod">
        <pc:chgData name="Mohamed Ibissi" userId="90b6f8706c8cb808" providerId="LiveId" clId="{0A7FBB52-A209-4350-A6C8-DCE7C2CB10A7}" dt="2024-11-11T00:58:03.456" v="2355" actId="167"/>
        <pc:sldMkLst>
          <pc:docMk/>
          <pc:sldMk cId="541530067" sldId="2134806445"/>
        </pc:sldMkLst>
        <pc:spChg chg="mod">
          <ac:chgData name="Mohamed Ibissi" userId="90b6f8706c8cb808" providerId="LiveId" clId="{0A7FBB52-A209-4350-A6C8-DCE7C2CB10A7}" dt="2024-11-10T12:50:45.201" v="383" actId="20577"/>
          <ac:spMkLst>
            <pc:docMk/>
            <pc:sldMk cId="541530067" sldId="2134806445"/>
            <ac:spMk id="2" creationId="{A6D5A2FC-763A-6D16-D68D-1EFCCBEFF64F}"/>
          </ac:spMkLst>
        </pc:spChg>
        <pc:graphicFrameChg chg="del">
          <ac:chgData name="Mohamed Ibissi" userId="90b6f8706c8cb808" providerId="LiveId" clId="{0A7FBB52-A209-4350-A6C8-DCE7C2CB10A7}" dt="2024-11-11T00:57:58.656" v="2353" actId="478"/>
          <ac:graphicFrameMkLst>
            <pc:docMk/>
            <pc:sldMk cId="541530067" sldId="2134806445"/>
            <ac:graphicFrameMk id="7" creationId="{149ED88A-3354-754B-CB9E-559D374A51D4}"/>
          </ac:graphicFrameMkLst>
        </pc:graphicFrameChg>
        <pc:picChg chg="add mod ord">
          <ac:chgData name="Mohamed Ibissi" userId="90b6f8706c8cb808" providerId="LiveId" clId="{0A7FBB52-A209-4350-A6C8-DCE7C2CB10A7}" dt="2024-11-11T00:58:03.456" v="2355" actId="167"/>
          <ac:picMkLst>
            <pc:docMk/>
            <pc:sldMk cId="541530067" sldId="2134806445"/>
            <ac:picMk id="3" creationId="{737DBA60-91F6-392E-8FCA-71CD12B6838F}"/>
          </ac:picMkLst>
        </pc:picChg>
        <pc:picChg chg="mod">
          <ac:chgData name="Mohamed Ibissi" userId="90b6f8706c8cb808" providerId="LiveId" clId="{0A7FBB52-A209-4350-A6C8-DCE7C2CB10A7}" dt="2024-11-10T12:52:54.964" v="384" actId="14826"/>
          <ac:picMkLst>
            <pc:docMk/>
            <pc:sldMk cId="541530067" sldId="2134806445"/>
            <ac:picMk id="8" creationId="{1BD5EADE-22BD-E4E0-3CFF-5003DE2FB8CD}"/>
          </ac:picMkLst>
        </pc:picChg>
      </pc:sldChg>
      <pc:sldChg chg="addSp delSp modSp del mod">
        <pc:chgData name="Mohamed Ibissi" userId="90b6f8706c8cb808" providerId="LiveId" clId="{0A7FBB52-A209-4350-A6C8-DCE7C2CB10A7}" dt="2024-11-12T14:58:01.209" v="2638" actId="47"/>
        <pc:sldMkLst>
          <pc:docMk/>
          <pc:sldMk cId="4234382696" sldId="2134806446"/>
        </pc:sldMkLst>
        <pc:graphicFrameChg chg="del">
          <ac:chgData name="Mohamed Ibissi" userId="90b6f8706c8cb808" providerId="LiveId" clId="{0A7FBB52-A209-4350-A6C8-DCE7C2CB10A7}" dt="2024-11-11T00:58:26.706" v="2359" actId="478"/>
          <ac:graphicFrameMkLst>
            <pc:docMk/>
            <pc:sldMk cId="4234382696" sldId="2134806446"/>
            <ac:graphicFrameMk id="4" creationId="{FB5958C6-426B-D9A9-7A5C-7AF5AD870B9D}"/>
          </ac:graphicFrameMkLst>
        </pc:graphicFrameChg>
        <pc:picChg chg="add mod ord">
          <ac:chgData name="Mohamed Ibissi" userId="90b6f8706c8cb808" providerId="LiveId" clId="{0A7FBB52-A209-4350-A6C8-DCE7C2CB10A7}" dt="2024-11-11T00:58:30.629" v="2361" actId="167"/>
          <ac:picMkLst>
            <pc:docMk/>
            <pc:sldMk cId="4234382696" sldId="2134806446"/>
            <ac:picMk id="5" creationId="{62975714-AC51-9247-5AFF-F1412BAA236F}"/>
          </ac:picMkLst>
        </pc:picChg>
      </pc:sldChg>
      <pc:sldChg chg="addSp delSp modSp mod modAnim">
        <pc:chgData name="Mohamed Ibissi" userId="90b6f8706c8cb808" providerId="LiveId" clId="{0A7FBB52-A209-4350-A6C8-DCE7C2CB10A7}" dt="2024-11-11T00:59:10.720" v="2370" actId="167"/>
        <pc:sldMkLst>
          <pc:docMk/>
          <pc:sldMk cId="3658453428" sldId="2134806451"/>
        </pc:sldMkLst>
        <pc:spChg chg="mod">
          <ac:chgData name="Mohamed Ibissi" userId="90b6f8706c8cb808" providerId="LiveId" clId="{0A7FBB52-A209-4350-A6C8-DCE7C2CB10A7}" dt="2024-11-10T12:54:22.983" v="420" actId="1037"/>
          <ac:spMkLst>
            <pc:docMk/>
            <pc:sldMk cId="3658453428" sldId="2134806451"/>
            <ac:spMk id="2" creationId="{DCF42B76-2531-CDFA-D704-4AE2877489BD}"/>
          </ac:spMkLst>
        </pc:spChg>
        <pc:spChg chg="mod">
          <ac:chgData name="Mohamed Ibissi" userId="90b6f8706c8cb808" providerId="LiveId" clId="{0A7FBB52-A209-4350-A6C8-DCE7C2CB10A7}" dt="2024-11-10T13:34:03.471" v="682" actId="20577"/>
          <ac:spMkLst>
            <pc:docMk/>
            <pc:sldMk cId="3658453428" sldId="2134806451"/>
            <ac:spMk id="3" creationId="{45F594E5-D3FC-33F1-E8E3-E4FB2E0AB674}"/>
          </ac:spMkLst>
        </pc:spChg>
        <pc:spChg chg="mod">
          <ac:chgData name="Mohamed Ibissi" userId="90b6f8706c8cb808" providerId="LiveId" clId="{0A7FBB52-A209-4350-A6C8-DCE7C2CB10A7}" dt="2024-11-10T12:54:48.894" v="421" actId="20577"/>
          <ac:spMkLst>
            <pc:docMk/>
            <pc:sldMk cId="3658453428" sldId="2134806451"/>
            <ac:spMk id="6" creationId="{80240345-E3BD-3247-AF39-4D43DED261FA}"/>
          </ac:spMkLst>
        </pc:spChg>
        <pc:spChg chg="add mod">
          <ac:chgData name="Mohamed Ibissi" userId="90b6f8706c8cb808" providerId="LiveId" clId="{0A7FBB52-A209-4350-A6C8-DCE7C2CB10A7}" dt="2024-11-10T12:55:00.805" v="428" actId="1035"/>
          <ac:spMkLst>
            <pc:docMk/>
            <pc:sldMk cId="3658453428" sldId="2134806451"/>
            <ac:spMk id="7" creationId="{3F861985-E7BB-00D0-8D10-82BC66412146}"/>
          </ac:spMkLst>
        </pc:spChg>
        <pc:graphicFrameChg chg="del">
          <ac:chgData name="Mohamed Ibissi" userId="90b6f8706c8cb808" providerId="LiveId" clId="{0A7FBB52-A209-4350-A6C8-DCE7C2CB10A7}" dt="2024-11-11T00:59:07.765" v="2368" actId="478"/>
          <ac:graphicFrameMkLst>
            <pc:docMk/>
            <pc:sldMk cId="3658453428" sldId="2134806451"/>
            <ac:graphicFrameMk id="4" creationId="{57CF7025-65CE-6CC2-9807-DEBB21CDFC8C}"/>
          </ac:graphicFrameMkLst>
        </pc:graphicFrameChg>
        <pc:picChg chg="mod">
          <ac:chgData name="Mohamed Ibissi" userId="90b6f8706c8cb808" providerId="LiveId" clId="{0A7FBB52-A209-4350-A6C8-DCE7C2CB10A7}" dt="2024-11-10T12:54:16.239" v="413" actId="14826"/>
          <ac:picMkLst>
            <pc:docMk/>
            <pc:sldMk cId="3658453428" sldId="2134806451"/>
            <ac:picMk id="5" creationId="{616F512A-735F-6B8E-AF92-E48B6492C204}"/>
          </ac:picMkLst>
        </pc:picChg>
        <pc:picChg chg="add mod ord">
          <ac:chgData name="Mohamed Ibissi" userId="90b6f8706c8cb808" providerId="LiveId" clId="{0A7FBB52-A209-4350-A6C8-DCE7C2CB10A7}" dt="2024-11-11T00:59:10.720" v="2370" actId="167"/>
          <ac:picMkLst>
            <pc:docMk/>
            <pc:sldMk cId="3658453428" sldId="2134806451"/>
            <ac:picMk id="8" creationId="{FF2E7F73-2BD5-A8B6-E6EC-DF1600094CC6}"/>
          </ac:picMkLst>
        </pc:picChg>
      </pc:sldChg>
      <pc:sldChg chg="addSp delSp modSp mod">
        <pc:chgData name="Mohamed Ibissi" userId="90b6f8706c8cb808" providerId="LiveId" clId="{0A7FBB52-A209-4350-A6C8-DCE7C2CB10A7}" dt="2024-11-11T01:08:53.126" v="2477" actId="167"/>
        <pc:sldMkLst>
          <pc:docMk/>
          <pc:sldMk cId="1392427934" sldId="2134806453"/>
        </pc:sldMkLst>
        <pc:spChg chg="mod ord">
          <ac:chgData name="Mohamed Ibissi" userId="90b6f8706c8cb808" providerId="LiveId" clId="{0A7FBB52-A209-4350-A6C8-DCE7C2CB10A7}" dt="2024-11-10T15:03:36.308" v="1115" actId="1035"/>
          <ac:spMkLst>
            <pc:docMk/>
            <pc:sldMk cId="1392427934" sldId="2134806453"/>
            <ac:spMk id="3" creationId="{C952CC27-6EC9-ACD6-1D17-286356C6FE08}"/>
          </ac:spMkLst>
        </pc:spChg>
        <pc:graphicFrameChg chg="del">
          <ac:chgData name="Mohamed Ibissi" userId="90b6f8706c8cb808" providerId="LiveId" clId="{0A7FBB52-A209-4350-A6C8-DCE7C2CB10A7}" dt="2024-11-11T01:08:35.269" v="2475" actId="478"/>
          <ac:graphicFrameMkLst>
            <pc:docMk/>
            <pc:sldMk cId="1392427934" sldId="2134806453"/>
            <ac:graphicFrameMk id="4" creationId="{A32DAA76-E301-9D9E-5B5C-DF922576BF59}"/>
          </ac:graphicFrameMkLst>
        </pc:graphicFrameChg>
        <pc:picChg chg="add mod ord">
          <ac:chgData name="Mohamed Ibissi" userId="90b6f8706c8cb808" providerId="LiveId" clId="{0A7FBB52-A209-4350-A6C8-DCE7C2CB10A7}" dt="2024-11-11T01:08:53.126" v="2477" actId="167"/>
          <ac:picMkLst>
            <pc:docMk/>
            <pc:sldMk cId="1392427934" sldId="2134806453"/>
            <ac:picMk id="2" creationId="{21E85293-3D76-B8DB-6F57-6B10D484C4A7}"/>
          </ac:picMkLst>
        </pc:picChg>
        <pc:picChg chg="del">
          <ac:chgData name="Mohamed Ibissi" userId="90b6f8706c8cb808" providerId="LiveId" clId="{0A7FBB52-A209-4350-A6C8-DCE7C2CB10A7}" dt="2024-11-10T15:00:33.487" v="1091" actId="478"/>
          <ac:picMkLst>
            <pc:docMk/>
            <pc:sldMk cId="1392427934" sldId="2134806453"/>
            <ac:picMk id="2" creationId="{F5552D54-56AD-DAE5-6DFF-CC625CAFCF24}"/>
          </ac:picMkLst>
        </pc:picChg>
        <pc:picChg chg="add mod">
          <ac:chgData name="Mohamed Ibissi" userId="90b6f8706c8cb808" providerId="LiveId" clId="{0A7FBB52-A209-4350-A6C8-DCE7C2CB10A7}" dt="2024-11-10T15:03:22.034" v="1095" actId="1076"/>
          <ac:picMkLst>
            <pc:docMk/>
            <pc:sldMk cId="1392427934" sldId="2134806453"/>
            <ac:picMk id="6" creationId="{4AF7088A-26DB-01D8-6F6B-4199AFE3D7F0}"/>
          </ac:picMkLst>
        </pc:picChg>
      </pc:sldChg>
      <pc:sldChg chg="addSp delSp modSp add del mod ord">
        <pc:chgData name="Mohamed Ibissi" userId="90b6f8706c8cb808" providerId="LiveId" clId="{0A7FBB52-A209-4350-A6C8-DCE7C2CB10A7}" dt="2024-11-11T01:09:54.993" v="2489" actId="167"/>
        <pc:sldMkLst>
          <pc:docMk/>
          <pc:sldMk cId="1037867952" sldId="2134806458"/>
        </pc:sldMkLst>
        <pc:spChg chg="del">
          <ac:chgData name="Mohamed Ibissi" userId="90b6f8706c8cb808" providerId="LiveId" clId="{0A7FBB52-A209-4350-A6C8-DCE7C2CB10A7}" dt="2024-11-10T23:12:01.488" v="1511" actId="478"/>
          <ac:spMkLst>
            <pc:docMk/>
            <pc:sldMk cId="1037867952" sldId="2134806458"/>
            <ac:spMk id="6" creationId="{B89586A4-277F-0D19-2BD1-FECAC12BFD42}"/>
          </ac:spMkLst>
        </pc:spChg>
        <pc:spChg chg="mod">
          <ac:chgData name="Mohamed Ibissi" userId="90b6f8706c8cb808" providerId="LiveId" clId="{0A7FBB52-A209-4350-A6C8-DCE7C2CB10A7}" dt="2024-11-10T23:52:24.989" v="2026" actId="20577"/>
          <ac:spMkLst>
            <pc:docMk/>
            <pc:sldMk cId="1037867952" sldId="2134806458"/>
            <ac:spMk id="7" creationId="{88A82FB8-6394-3A45-537A-EBFDB0AA9197}"/>
          </ac:spMkLst>
        </pc:spChg>
        <pc:spChg chg="mod">
          <ac:chgData name="Mohamed Ibissi" userId="90b6f8706c8cb808" providerId="LiveId" clId="{0A7FBB52-A209-4350-A6C8-DCE7C2CB10A7}" dt="2024-11-10T23:12:07.911" v="1514" actId="20577"/>
          <ac:spMkLst>
            <pc:docMk/>
            <pc:sldMk cId="1037867952" sldId="2134806458"/>
            <ac:spMk id="8" creationId="{38001111-AE3B-1379-6196-5B9564A2154D}"/>
          </ac:spMkLst>
        </pc:spChg>
        <pc:spChg chg="mod">
          <ac:chgData name="Mohamed Ibissi" userId="90b6f8706c8cb808" providerId="LiveId" clId="{0A7FBB52-A209-4350-A6C8-DCE7C2CB10A7}" dt="2024-11-10T23:12:31.254" v="1518" actId="1076"/>
          <ac:spMkLst>
            <pc:docMk/>
            <pc:sldMk cId="1037867952" sldId="2134806458"/>
            <ac:spMk id="9" creationId="{FD85A2A7-EBF4-BD9D-4C7B-BE14442A47EB}"/>
          </ac:spMkLst>
        </pc:spChg>
        <pc:spChg chg="mod">
          <ac:chgData name="Mohamed Ibissi" userId="90b6f8706c8cb808" providerId="LiveId" clId="{0A7FBB52-A209-4350-A6C8-DCE7C2CB10A7}" dt="2024-11-10T23:12:34.615" v="1519" actId="1076"/>
          <ac:spMkLst>
            <pc:docMk/>
            <pc:sldMk cId="1037867952" sldId="2134806458"/>
            <ac:spMk id="10" creationId="{39D63821-A587-297C-F9C4-7B59A341B86D}"/>
          </ac:spMkLst>
        </pc:spChg>
        <pc:grpChg chg="add mod">
          <ac:chgData name="Mohamed Ibissi" userId="90b6f8706c8cb808" providerId="LiveId" clId="{0A7FBB52-A209-4350-A6C8-DCE7C2CB10A7}" dt="2024-11-10T23:12:05.879" v="1513" actId="1076"/>
          <ac:grpSpMkLst>
            <pc:docMk/>
            <pc:sldMk cId="1037867952" sldId="2134806458"/>
            <ac:grpSpMk id="2" creationId="{B9ADC237-8DBA-F8F9-C3D1-698165BB5A91}"/>
          </ac:grpSpMkLst>
        </pc:grpChg>
        <pc:graphicFrameChg chg="del">
          <ac:chgData name="Mohamed Ibissi" userId="90b6f8706c8cb808" providerId="LiveId" clId="{0A7FBB52-A209-4350-A6C8-DCE7C2CB10A7}" dt="2024-11-11T01:09:48.411" v="2487" actId="478"/>
          <ac:graphicFrameMkLst>
            <pc:docMk/>
            <pc:sldMk cId="1037867952" sldId="2134806458"/>
            <ac:graphicFrameMk id="4" creationId="{85F833C8-8CFA-FD6C-4B0C-5B98E6D204BE}"/>
          </ac:graphicFrameMkLst>
        </pc:graphicFrameChg>
        <pc:picChg chg="mod">
          <ac:chgData name="Mohamed Ibissi" userId="90b6f8706c8cb808" providerId="LiveId" clId="{0A7FBB52-A209-4350-A6C8-DCE7C2CB10A7}" dt="2024-11-10T23:12:02.034" v="1512"/>
          <ac:picMkLst>
            <pc:docMk/>
            <pc:sldMk cId="1037867952" sldId="2134806458"/>
            <ac:picMk id="3" creationId="{56C79AE7-1209-3E5B-C8CA-E11F6E30D822}"/>
          </ac:picMkLst>
        </pc:picChg>
        <pc:picChg chg="add mod ord">
          <ac:chgData name="Mohamed Ibissi" userId="90b6f8706c8cb808" providerId="LiveId" clId="{0A7FBB52-A209-4350-A6C8-DCE7C2CB10A7}" dt="2024-11-11T01:09:54.993" v="2489" actId="167"/>
          <ac:picMkLst>
            <pc:docMk/>
            <pc:sldMk cId="1037867952" sldId="2134806458"/>
            <ac:picMk id="6" creationId="{F6E568F7-368A-FC07-6378-917CC7E954B0}"/>
          </ac:picMkLst>
        </pc:picChg>
      </pc:sldChg>
      <pc:sldChg chg="add del setBg">
        <pc:chgData name="Mohamed Ibissi" userId="90b6f8706c8cb808" providerId="LiveId" clId="{0A7FBB52-A209-4350-A6C8-DCE7C2CB10A7}" dt="2024-11-10T23:49:30.496" v="2011"/>
        <pc:sldMkLst>
          <pc:docMk/>
          <pc:sldMk cId="4085690340" sldId="2134806458"/>
        </pc:sldMkLst>
      </pc:sldChg>
      <pc:sldChg chg="addSp delSp modSp add del mod ord modAnim">
        <pc:chgData name="Mohamed Ibissi" userId="90b6f8706c8cb808" providerId="LiveId" clId="{0A7FBB52-A209-4350-A6C8-DCE7C2CB10A7}" dt="2024-11-11T01:10:20.828" v="2505" actId="1037"/>
        <pc:sldMkLst>
          <pc:docMk/>
          <pc:sldMk cId="1231704022" sldId="2134806459"/>
        </pc:sldMkLst>
        <pc:spChg chg="mod">
          <ac:chgData name="Mohamed Ibissi" userId="90b6f8706c8cb808" providerId="LiveId" clId="{0A7FBB52-A209-4350-A6C8-DCE7C2CB10A7}" dt="2024-11-10T23:36:46.618" v="1895" actId="20577"/>
          <ac:spMkLst>
            <pc:docMk/>
            <pc:sldMk cId="1231704022" sldId="2134806459"/>
            <ac:spMk id="2" creationId="{FE667980-5852-A4E1-CFAD-C55C6FE630C6}"/>
          </ac:spMkLst>
        </pc:spChg>
        <pc:spChg chg="mod">
          <ac:chgData name="Mohamed Ibissi" userId="90b6f8706c8cb808" providerId="LiveId" clId="{0A7FBB52-A209-4350-A6C8-DCE7C2CB10A7}" dt="2024-11-10T23:35:06.806" v="1805"/>
          <ac:spMkLst>
            <pc:docMk/>
            <pc:sldMk cId="1231704022" sldId="2134806459"/>
            <ac:spMk id="8" creationId="{22A22754-230B-B0B6-F8B4-303E7EB4AE9E}"/>
          </ac:spMkLst>
        </pc:spChg>
        <pc:spChg chg="mod">
          <ac:chgData name="Mohamed Ibissi" userId="90b6f8706c8cb808" providerId="LiveId" clId="{0A7FBB52-A209-4350-A6C8-DCE7C2CB10A7}" dt="2024-11-10T23:34:36.931" v="1802" actId="20577"/>
          <ac:spMkLst>
            <pc:docMk/>
            <pc:sldMk cId="1231704022" sldId="2134806459"/>
            <ac:spMk id="9" creationId="{D5DD6ECE-1370-6C96-BBF8-985335204212}"/>
          </ac:spMkLst>
        </pc:spChg>
        <pc:spChg chg="mod">
          <ac:chgData name="Mohamed Ibissi" userId="90b6f8706c8cb808" providerId="LiveId" clId="{0A7FBB52-A209-4350-A6C8-DCE7C2CB10A7}" dt="2024-11-10T23:34:57.437" v="1804" actId="1076"/>
          <ac:spMkLst>
            <pc:docMk/>
            <pc:sldMk cId="1231704022" sldId="2134806459"/>
            <ac:spMk id="10" creationId="{84C40276-B96F-9ED3-4A5F-D9DCAD6BE91B}"/>
          </ac:spMkLst>
        </pc:spChg>
        <pc:spChg chg="mod">
          <ac:chgData name="Mohamed Ibissi" userId="90b6f8706c8cb808" providerId="LiveId" clId="{0A7FBB52-A209-4350-A6C8-DCE7C2CB10A7}" dt="2024-11-10T23:35:49.044" v="1879" actId="20577"/>
          <ac:spMkLst>
            <pc:docMk/>
            <pc:sldMk cId="1231704022" sldId="2134806459"/>
            <ac:spMk id="11" creationId="{9820214B-A158-5418-3DEB-6FDEFB5FE9B5}"/>
          </ac:spMkLst>
        </pc:spChg>
        <pc:spChg chg="mod">
          <ac:chgData name="Mohamed Ibissi" userId="90b6f8706c8cb808" providerId="LiveId" clId="{0A7FBB52-A209-4350-A6C8-DCE7C2CB10A7}" dt="2024-11-10T23:35:53.876" v="1880" actId="20577"/>
          <ac:spMkLst>
            <pc:docMk/>
            <pc:sldMk cId="1231704022" sldId="2134806459"/>
            <ac:spMk id="13" creationId="{083AFEBE-3A0E-8F50-945C-73D921C38F31}"/>
          </ac:spMkLst>
        </pc:spChg>
        <pc:spChg chg="mod">
          <ac:chgData name="Mohamed Ibissi" userId="90b6f8706c8cb808" providerId="LiveId" clId="{0A7FBB52-A209-4350-A6C8-DCE7C2CB10A7}" dt="2024-11-10T23:35:56.410" v="1881" actId="20577"/>
          <ac:spMkLst>
            <pc:docMk/>
            <pc:sldMk cId="1231704022" sldId="2134806459"/>
            <ac:spMk id="15" creationId="{F5B5CEE5-33CA-D570-4A62-8E18083D8A81}"/>
          </ac:spMkLst>
        </pc:spChg>
        <pc:spChg chg="mod">
          <ac:chgData name="Mohamed Ibissi" userId="90b6f8706c8cb808" providerId="LiveId" clId="{0A7FBB52-A209-4350-A6C8-DCE7C2CB10A7}" dt="2024-11-10T23:35:29.120" v="1876"/>
          <ac:spMkLst>
            <pc:docMk/>
            <pc:sldMk cId="1231704022" sldId="2134806459"/>
            <ac:spMk id="19" creationId="{9C150452-5C6E-BA90-2E30-5E61CE60F0EF}"/>
          </ac:spMkLst>
        </pc:spChg>
        <pc:spChg chg="mod">
          <ac:chgData name="Mohamed Ibissi" userId="90b6f8706c8cb808" providerId="LiveId" clId="{0A7FBB52-A209-4350-A6C8-DCE7C2CB10A7}" dt="2024-11-10T23:36:00.696" v="1882" actId="20577"/>
          <ac:spMkLst>
            <pc:docMk/>
            <pc:sldMk cId="1231704022" sldId="2134806459"/>
            <ac:spMk id="20" creationId="{B9D32DBF-272E-39EE-3B6E-CFE471E8C07A}"/>
          </ac:spMkLst>
        </pc:spChg>
        <pc:spChg chg="mod">
          <ac:chgData name="Mohamed Ibissi" userId="90b6f8706c8cb808" providerId="LiveId" clId="{0A7FBB52-A209-4350-A6C8-DCE7C2CB10A7}" dt="2024-11-10T23:35:29.120" v="1876"/>
          <ac:spMkLst>
            <pc:docMk/>
            <pc:sldMk cId="1231704022" sldId="2134806459"/>
            <ac:spMk id="21" creationId="{74FE0A84-85FB-0E9E-E67E-7FCC9909593A}"/>
          </ac:spMkLst>
        </pc:spChg>
        <pc:grpChg chg="add mod">
          <ac:chgData name="Mohamed Ibissi" userId="90b6f8706c8cb808" providerId="LiveId" clId="{0A7FBB52-A209-4350-A6C8-DCE7C2CB10A7}" dt="2024-11-11T01:10:20.828" v="2505" actId="1037"/>
          <ac:grpSpMkLst>
            <pc:docMk/>
            <pc:sldMk cId="1231704022" sldId="2134806459"/>
            <ac:grpSpMk id="6" creationId="{F7F92C61-26AA-F201-42E8-125186A95239}"/>
          </ac:grpSpMkLst>
        </pc:grpChg>
        <pc:grpChg chg="mod">
          <ac:chgData name="Mohamed Ibissi" userId="90b6f8706c8cb808" providerId="LiveId" clId="{0A7FBB52-A209-4350-A6C8-DCE7C2CB10A7}" dt="2024-11-11T01:10:20.828" v="2505" actId="1037"/>
          <ac:grpSpMkLst>
            <pc:docMk/>
            <pc:sldMk cId="1231704022" sldId="2134806459"/>
            <ac:grpSpMk id="12" creationId="{5C87424D-92EB-3F9E-B560-DE6580446591}"/>
          </ac:grpSpMkLst>
        </pc:grpChg>
        <pc:grpChg chg="add mod">
          <ac:chgData name="Mohamed Ibissi" userId="90b6f8706c8cb808" providerId="LiveId" clId="{0A7FBB52-A209-4350-A6C8-DCE7C2CB10A7}" dt="2024-11-11T01:10:20.828" v="2505" actId="1037"/>
          <ac:grpSpMkLst>
            <pc:docMk/>
            <pc:sldMk cId="1231704022" sldId="2134806459"/>
            <ac:grpSpMk id="17" creationId="{E61B7114-E73A-CA65-FD0B-6090012EFDBF}"/>
          </ac:grpSpMkLst>
        </pc:grpChg>
        <pc:graphicFrameChg chg="del modGraphic">
          <ac:chgData name="Mohamed Ibissi" userId="90b6f8706c8cb808" providerId="LiveId" clId="{0A7FBB52-A209-4350-A6C8-DCE7C2CB10A7}" dt="2024-11-11T01:10:03.266" v="2491" actId="478"/>
          <ac:graphicFrameMkLst>
            <pc:docMk/>
            <pc:sldMk cId="1231704022" sldId="2134806459"/>
            <ac:graphicFrameMk id="4" creationId="{CEEBC6CF-D30F-FD7D-620C-97A754884929}"/>
          </ac:graphicFrameMkLst>
        </pc:graphicFrameChg>
        <pc:picChg chg="mod">
          <ac:chgData name="Mohamed Ibissi" userId="90b6f8706c8cb808" providerId="LiveId" clId="{0A7FBB52-A209-4350-A6C8-DCE7C2CB10A7}" dt="2024-11-10T23:35:06.806" v="1805"/>
          <ac:picMkLst>
            <pc:docMk/>
            <pc:sldMk cId="1231704022" sldId="2134806459"/>
            <ac:picMk id="7" creationId="{8C335A49-1648-40DE-EB8D-F0EF22573C97}"/>
          </ac:picMkLst>
        </pc:picChg>
        <pc:picChg chg="mod">
          <ac:chgData name="Mohamed Ibissi" userId="90b6f8706c8cb808" providerId="LiveId" clId="{0A7FBB52-A209-4350-A6C8-DCE7C2CB10A7}" dt="2024-11-10T23:35:29.120" v="1876"/>
          <ac:picMkLst>
            <pc:docMk/>
            <pc:sldMk cId="1231704022" sldId="2134806459"/>
            <ac:picMk id="18" creationId="{5DEC13F7-3135-33FC-07C6-C7D03427BCD1}"/>
          </ac:picMkLst>
        </pc:picChg>
        <pc:picChg chg="add mod ord">
          <ac:chgData name="Mohamed Ibissi" userId="90b6f8706c8cb808" providerId="LiveId" clId="{0A7FBB52-A209-4350-A6C8-DCE7C2CB10A7}" dt="2024-11-11T01:10:07.722" v="2493" actId="167"/>
          <ac:picMkLst>
            <pc:docMk/>
            <pc:sldMk cId="1231704022" sldId="2134806459"/>
            <ac:picMk id="22" creationId="{213E7D6A-4AE3-5550-EE4B-D756275E07FE}"/>
          </ac:picMkLst>
        </pc:picChg>
        <pc:cxnChg chg="mod">
          <ac:chgData name="Mohamed Ibissi" userId="90b6f8706c8cb808" providerId="LiveId" clId="{0A7FBB52-A209-4350-A6C8-DCE7C2CB10A7}" dt="2024-11-11T01:10:20.828" v="2505" actId="1037"/>
          <ac:cxnSpMkLst>
            <pc:docMk/>
            <pc:sldMk cId="1231704022" sldId="2134806459"/>
            <ac:cxnSpMk id="14" creationId="{83CFECED-5EF6-7821-EF8E-6AB5C448BF44}"/>
          </ac:cxnSpMkLst>
        </pc:cxnChg>
        <pc:cxnChg chg="add mod">
          <ac:chgData name="Mohamed Ibissi" userId="90b6f8706c8cb808" providerId="LiveId" clId="{0A7FBB52-A209-4350-A6C8-DCE7C2CB10A7}" dt="2024-11-11T01:10:20.828" v="2505" actId="1037"/>
          <ac:cxnSpMkLst>
            <pc:docMk/>
            <pc:sldMk cId="1231704022" sldId="2134806459"/>
            <ac:cxnSpMk id="16" creationId="{3C9F232C-B1F4-05EE-0FF1-77523880A0D2}"/>
          </ac:cxnSpMkLst>
        </pc:cxnChg>
      </pc:sldChg>
      <pc:sldChg chg="add del setBg">
        <pc:chgData name="Mohamed Ibissi" userId="90b6f8706c8cb808" providerId="LiveId" clId="{0A7FBB52-A209-4350-A6C8-DCE7C2CB10A7}" dt="2024-11-10T23:49:30.496" v="2011"/>
        <pc:sldMkLst>
          <pc:docMk/>
          <pc:sldMk cId="2728947939" sldId="2134806459"/>
        </pc:sldMkLst>
      </pc:sldChg>
      <pc:sldChg chg="addSp delSp modSp mod modAnim">
        <pc:chgData name="Mohamed Ibissi" userId="90b6f8706c8cb808" providerId="LiveId" clId="{0A7FBB52-A209-4350-A6C8-DCE7C2CB10A7}" dt="2024-11-12T15:10:32.161" v="2729"/>
        <pc:sldMkLst>
          <pc:docMk/>
          <pc:sldMk cId="2227613998" sldId="2134806462"/>
        </pc:sldMkLst>
        <pc:spChg chg="add mod">
          <ac:chgData name="Mohamed Ibissi" userId="90b6f8706c8cb808" providerId="LiveId" clId="{0A7FBB52-A209-4350-A6C8-DCE7C2CB10A7}" dt="2024-11-10T16:07:59.732" v="1203" actId="1076"/>
          <ac:spMkLst>
            <pc:docMk/>
            <pc:sldMk cId="2227613998" sldId="2134806462"/>
            <ac:spMk id="3" creationId="{00BE5224-1B44-F4EE-427E-F1F7E8F402CE}"/>
          </ac:spMkLst>
        </pc:spChg>
        <pc:spChg chg="add del mod">
          <ac:chgData name="Mohamed Ibissi" userId="90b6f8706c8cb808" providerId="LiveId" clId="{0A7FBB52-A209-4350-A6C8-DCE7C2CB10A7}" dt="2024-11-10T16:07:54.730" v="1202" actId="478"/>
          <ac:spMkLst>
            <pc:docMk/>
            <pc:sldMk cId="2227613998" sldId="2134806462"/>
            <ac:spMk id="5" creationId="{7C2B6A12-9E1E-E34F-68ED-E301F6517F3F}"/>
          </ac:spMkLst>
        </pc:spChg>
        <pc:spChg chg="mod">
          <ac:chgData name="Mohamed Ibissi" userId="90b6f8706c8cb808" providerId="LiveId" clId="{0A7FBB52-A209-4350-A6C8-DCE7C2CB10A7}" dt="2024-11-12T15:10:32.161" v="2729"/>
          <ac:spMkLst>
            <pc:docMk/>
            <pc:sldMk cId="2227613998" sldId="2134806462"/>
            <ac:spMk id="6" creationId="{EE9FEE25-8CFA-0EDC-8976-268E8054EACB}"/>
          </ac:spMkLst>
        </pc:spChg>
        <pc:spChg chg="del">
          <ac:chgData name="Mohamed Ibissi" userId="90b6f8706c8cb808" providerId="LiveId" clId="{0A7FBB52-A209-4350-A6C8-DCE7C2CB10A7}" dt="2024-11-10T16:07:37.786" v="1200" actId="478"/>
          <ac:spMkLst>
            <pc:docMk/>
            <pc:sldMk cId="2227613998" sldId="2134806462"/>
            <ac:spMk id="8" creationId="{FFC2136F-6BE4-7CD5-3FE2-BA3B13256C5C}"/>
          </ac:spMkLst>
        </pc:spChg>
        <pc:spChg chg="del">
          <ac:chgData name="Mohamed Ibissi" userId="90b6f8706c8cb808" providerId="LiveId" clId="{0A7FBB52-A209-4350-A6C8-DCE7C2CB10A7}" dt="2024-11-10T16:07:37.786" v="1200" actId="478"/>
          <ac:spMkLst>
            <pc:docMk/>
            <pc:sldMk cId="2227613998" sldId="2134806462"/>
            <ac:spMk id="9" creationId="{20A6CB25-DDFA-588B-72D1-9C502972B03C}"/>
          </ac:spMkLst>
        </pc:spChg>
        <pc:spChg chg="add mod">
          <ac:chgData name="Mohamed Ibissi" userId="90b6f8706c8cb808" providerId="LiveId" clId="{0A7FBB52-A209-4350-A6C8-DCE7C2CB10A7}" dt="2024-11-10T16:07:49.634" v="1201"/>
          <ac:spMkLst>
            <pc:docMk/>
            <pc:sldMk cId="2227613998" sldId="2134806462"/>
            <ac:spMk id="10" creationId="{7C3E53C2-A6CC-9964-14A3-50C99E3B42C7}"/>
          </ac:spMkLst>
        </pc:spChg>
        <pc:spChg chg="add mod">
          <ac:chgData name="Mohamed Ibissi" userId="90b6f8706c8cb808" providerId="LiveId" clId="{0A7FBB52-A209-4350-A6C8-DCE7C2CB10A7}" dt="2024-11-10T16:07:49.634" v="1201"/>
          <ac:spMkLst>
            <pc:docMk/>
            <pc:sldMk cId="2227613998" sldId="2134806462"/>
            <ac:spMk id="11" creationId="{44C3E3C0-690A-B51E-62E2-81CBA24FB9E6}"/>
          </ac:spMkLst>
        </pc:spChg>
        <pc:spChg chg="add mod">
          <ac:chgData name="Mohamed Ibissi" userId="90b6f8706c8cb808" providerId="LiveId" clId="{0A7FBB52-A209-4350-A6C8-DCE7C2CB10A7}" dt="2024-11-10T16:08:56.076" v="1229" actId="1037"/>
          <ac:spMkLst>
            <pc:docMk/>
            <pc:sldMk cId="2227613998" sldId="2134806462"/>
            <ac:spMk id="12" creationId="{32FE842C-82B6-88AA-BB47-05CC5603EFA5}"/>
          </ac:spMkLst>
        </pc:spChg>
        <pc:spChg chg="add mod">
          <ac:chgData name="Mohamed Ibissi" userId="90b6f8706c8cb808" providerId="LiveId" clId="{0A7FBB52-A209-4350-A6C8-DCE7C2CB10A7}" dt="2024-11-10T16:15:40.472" v="1351" actId="1076"/>
          <ac:spMkLst>
            <pc:docMk/>
            <pc:sldMk cId="2227613998" sldId="2134806462"/>
            <ac:spMk id="14" creationId="{F598E151-FD1A-0E25-7B20-B3D32C3F5F72}"/>
          </ac:spMkLst>
        </pc:spChg>
        <pc:graphicFrameChg chg="del">
          <ac:chgData name="Mohamed Ibissi" userId="90b6f8706c8cb808" providerId="LiveId" clId="{0A7FBB52-A209-4350-A6C8-DCE7C2CB10A7}" dt="2024-11-11T01:10:39.216" v="2506" actId="478"/>
          <ac:graphicFrameMkLst>
            <pc:docMk/>
            <pc:sldMk cId="2227613998" sldId="2134806462"/>
            <ac:graphicFrameMk id="4" creationId="{00107951-6D04-F504-4DA1-8A5D674DB5F5}"/>
          </ac:graphicFrameMkLst>
        </pc:graphicFrameChg>
        <pc:picChg chg="add mod">
          <ac:chgData name="Mohamed Ibissi" userId="90b6f8706c8cb808" providerId="LiveId" clId="{0A7FBB52-A209-4350-A6C8-DCE7C2CB10A7}" dt="2024-11-11T01:10:59.914" v="2510" actId="14100"/>
          <ac:picMkLst>
            <pc:docMk/>
            <pc:sldMk cId="2227613998" sldId="2134806462"/>
            <ac:picMk id="2" creationId="{130DB180-D617-4CE3-9AB5-12DA33B4FE13}"/>
          </ac:picMkLst>
        </pc:picChg>
        <pc:picChg chg="add mod ord">
          <ac:chgData name="Mohamed Ibissi" userId="90b6f8706c8cb808" providerId="LiveId" clId="{0A7FBB52-A209-4350-A6C8-DCE7C2CB10A7}" dt="2024-11-11T01:10:42.577" v="2508" actId="167"/>
          <ac:picMkLst>
            <pc:docMk/>
            <pc:sldMk cId="2227613998" sldId="2134806462"/>
            <ac:picMk id="5" creationId="{26E466F5-7E3F-D34D-F0BE-6CFD6E92AC41}"/>
          </ac:picMkLst>
        </pc:picChg>
        <pc:picChg chg="del">
          <ac:chgData name="Mohamed Ibissi" userId="90b6f8706c8cb808" providerId="LiveId" clId="{0A7FBB52-A209-4350-A6C8-DCE7C2CB10A7}" dt="2024-11-10T16:07:37.786" v="1200" actId="478"/>
          <ac:picMkLst>
            <pc:docMk/>
            <pc:sldMk cId="2227613998" sldId="2134806462"/>
            <ac:picMk id="7" creationId="{A099D83F-2FEA-E3EC-172E-4DD617A2F27F}"/>
          </ac:picMkLst>
        </pc:picChg>
      </pc:sldChg>
      <pc:sldChg chg="addSp delSp modSp mod">
        <pc:chgData name="Mohamed Ibissi" userId="90b6f8706c8cb808" providerId="LiveId" clId="{0A7FBB52-A209-4350-A6C8-DCE7C2CB10A7}" dt="2024-11-11T01:11:12.580" v="2513" actId="167"/>
        <pc:sldMkLst>
          <pc:docMk/>
          <pc:sldMk cId="2453061601" sldId="2134806463"/>
        </pc:sldMkLst>
        <pc:graphicFrameChg chg="del">
          <ac:chgData name="Mohamed Ibissi" userId="90b6f8706c8cb808" providerId="LiveId" clId="{0A7FBB52-A209-4350-A6C8-DCE7C2CB10A7}" dt="2024-11-11T01:11:09.016" v="2511" actId="478"/>
          <ac:graphicFrameMkLst>
            <pc:docMk/>
            <pc:sldMk cId="2453061601" sldId="2134806463"/>
            <ac:graphicFrameMk id="4" creationId="{24841F89-3E93-CA66-7FC6-798F22C8B89D}"/>
          </ac:graphicFrameMkLst>
        </pc:graphicFrameChg>
        <pc:picChg chg="add mod ord">
          <ac:chgData name="Mohamed Ibissi" userId="90b6f8706c8cb808" providerId="LiveId" clId="{0A7FBB52-A209-4350-A6C8-DCE7C2CB10A7}" dt="2024-11-11T01:11:12.580" v="2513" actId="167"/>
          <ac:picMkLst>
            <pc:docMk/>
            <pc:sldMk cId="2453061601" sldId="2134806463"/>
            <ac:picMk id="5" creationId="{0E799AE3-ACC1-95F4-7527-2C7CA1F1E834}"/>
          </ac:picMkLst>
        </pc:picChg>
      </pc:sldChg>
      <pc:sldChg chg="addSp delSp modSp mod">
        <pc:chgData name="Mohamed Ibissi" userId="90b6f8706c8cb808" providerId="LiveId" clId="{0A7FBB52-A209-4350-A6C8-DCE7C2CB10A7}" dt="2024-11-12T15:12:25.049" v="2739"/>
        <pc:sldMkLst>
          <pc:docMk/>
          <pc:sldMk cId="1402262612" sldId="2134806475"/>
        </pc:sldMkLst>
        <pc:spChg chg="mod">
          <ac:chgData name="Mohamed Ibissi" userId="90b6f8706c8cb808" providerId="LiveId" clId="{0A7FBB52-A209-4350-A6C8-DCE7C2CB10A7}" dt="2024-11-12T15:12:25.049" v="2739"/>
          <ac:spMkLst>
            <pc:docMk/>
            <pc:sldMk cId="1402262612" sldId="2134806475"/>
            <ac:spMk id="2" creationId="{5649BC64-9A82-EC7D-9E67-72FDA1798F41}"/>
          </ac:spMkLst>
        </pc:spChg>
        <pc:spChg chg="mod ord">
          <ac:chgData name="Mohamed Ibissi" userId="90b6f8706c8cb808" providerId="LiveId" clId="{0A7FBB52-A209-4350-A6C8-DCE7C2CB10A7}" dt="2024-11-11T00:03:26.867" v="2042" actId="14100"/>
          <ac:spMkLst>
            <pc:docMk/>
            <pc:sldMk cId="1402262612" sldId="2134806475"/>
            <ac:spMk id="5" creationId="{FC8C37B2-38D5-C2E0-B798-F3FF94D21FB1}"/>
          </ac:spMkLst>
        </pc:spChg>
        <pc:spChg chg="add mod">
          <ac:chgData name="Mohamed Ibissi" userId="90b6f8706c8cb808" providerId="LiveId" clId="{0A7FBB52-A209-4350-A6C8-DCE7C2CB10A7}" dt="2024-11-11T00:08:21.618" v="2049" actId="1038"/>
          <ac:spMkLst>
            <pc:docMk/>
            <pc:sldMk cId="1402262612" sldId="2134806475"/>
            <ac:spMk id="8" creationId="{89CD51BB-A6DF-8818-1228-8386B7BC4DAE}"/>
          </ac:spMkLst>
        </pc:spChg>
        <pc:spChg chg="add mod">
          <ac:chgData name="Mohamed Ibissi" userId="90b6f8706c8cb808" providerId="LiveId" clId="{0A7FBB52-A209-4350-A6C8-DCE7C2CB10A7}" dt="2024-11-11T00:08:37.097" v="2056" actId="1037"/>
          <ac:spMkLst>
            <pc:docMk/>
            <pc:sldMk cId="1402262612" sldId="2134806475"/>
            <ac:spMk id="9" creationId="{AA887F25-1689-A454-4161-C0A93E2F58CF}"/>
          </ac:spMkLst>
        </pc:spChg>
        <pc:spChg chg="add mod">
          <ac:chgData name="Mohamed Ibissi" userId="90b6f8706c8cb808" providerId="LiveId" clId="{0A7FBB52-A209-4350-A6C8-DCE7C2CB10A7}" dt="2024-11-11T00:08:41.192" v="2058" actId="20577"/>
          <ac:spMkLst>
            <pc:docMk/>
            <pc:sldMk cId="1402262612" sldId="2134806475"/>
            <ac:spMk id="10" creationId="{BD674829-1711-946C-1848-CC699CD05132}"/>
          </ac:spMkLst>
        </pc:spChg>
        <pc:spChg chg="add mod">
          <ac:chgData name="Mohamed Ibissi" userId="90b6f8706c8cb808" providerId="LiveId" clId="{0A7FBB52-A209-4350-A6C8-DCE7C2CB10A7}" dt="2024-11-11T00:08:59.471" v="2072" actId="1035"/>
          <ac:spMkLst>
            <pc:docMk/>
            <pc:sldMk cId="1402262612" sldId="2134806475"/>
            <ac:spMk id="11" creationId="{86D4521B-FDD9-6178-98B1-77F826DE76E8}"/>
          </ac:spMkLst>
        </pc:spChg>
        <pc:spChg chg="add mod">
          <ac:chgData name="Mohamed Ibissi" userId="90b6f8706c8cb808" providerId="LiveId" clId="{0A7FBB52-A209-4350-A6C8-DCE7C2CB10A7}" dt="2024-11-11T00:09:07.807" v="2075" actId="20577"/>
          <ac:spMkLst>
            <pc:docMk/>
            <pc:sldMk cId="1402262612" sldId="2134806475"/>
            <ac:spMk id="13" creationId="{7C4FB8DD-BF9C-8AC2-185A-E8A3D3B8160D}"/>
          </ac:spMkLst>
        </pc:spChg>
        <pc:spChg chg="add mod">
          <ac:chgData name="Mohamed Ibissi" userId="90b6f8706c8cb808" providerId="LiveId" clId="{0A7FBB52-A209-4350-A6C8-DCE7C2CB10A7}" dt="2024-11-11T00:09:13.045" v="2077" actId="20577"/>
          <ac:spMkLst>
            <pc:docMk/>
            <pc:sldMk cId="1402262612" sldId="2134806475"/>
            <ac:spMk id="14" creationId="{DE3D5598-25BF-9DFD-D9F7-CD019E225998}"/>
          </ac:spMkLst>
        </pc:spChg>
        <pc:spChg chg="add mod">
          <ac:chgData name="Mohamed Ibissi" userId="90b6f8706c8cb808" providerId="LiveId" clId="{0A7FBB52-A209-4350-A6C8-DCE7C2CB10A7}" dt="2024-11-11T00:09:18.581" v="2079" actId="20577"/>
          <ac:spMkLst>
            <pc:docMk/>
            <pc:sldMk cId="1402262612" sldId="2134806475"/>
            <ac:spMk id="15" creationId="{5F366461-DC6D-EB0A-261F-41D0EE69463B}"/>
          </ac:spMkLst>
        </pc:spChg>
        <pc:graphicFrameChg chg="del">
          <ac:chgData name="Mohamed Ibissi" userId="90b6f8706c8cb808" providerId="LiveId" clId="{0A7FBB52-A209-4350-A6C8-DCE7C2CB10A7}" dt="2024-11-11T01:18:09.922" v="2602" actId="478"/>
          <ac:graphicFrameMkLst>
            <pc:docMk/>
            <pc:sldMk cId="1402262612" sldId="2134806475"/>
            <ac:graphicFrameMk id="3" creationId="{203EB539-57BC-68F8-6321-8228FDCBFA60}"/>
          </ac:graphicFrameMkLst>
        </pc:graphicFrameChg>
        <pc:picChg chg="del">
          <ac:chgData name="Mohamed Ibissi" userId="90b6f8706c8cb808" providerId="LiveId" clId="{0A7FBB52-A209-4350-A6C8-DCE7C2CB10A7}" dt="2024-11-11T00:02:47.032" v="2031" actId="478"/>
          <ac:picMkLst>
            <pc:docMk/>
            <pc:sldMk cId="1402262612" sldId="2134806475"/>
            <ac:picMk id="6" creationId="{A6DE565F-A82D-F8E0-E635-799219B4A50A}"/>
          </ac:picMkLst>
        </pc:picChg>
        <pc:picChg chg="add mod">
          <ac:chgData name="Mohamed Ibissi" userId="90b6f8706c8cb808" providerId="LiveId" clId="{0A7FBB52-A209-4350-A6C8-DCE7C2CB10A7}" dt="2024-11-11T00:06:26.496" v="2043" actId="14826"/>
          <ac:picMkLst>
            <pc:docMk/>
            <pc:sldMk cId="1402262612" sldId="2134806475"/>
            <ac:picMk id="7" creationId="{A88402FB-9052-BBA1-892B-267EFE322322}"/>
          </ac:picMkLst>
        </pc:picChg>
        <pc:picChg chg="add mod ord">
          <ac:chgData name="Mohamed Ibissi" userId="90b6f8706c8cb808" providerId="LiveId" clId="{0A7FBB52-A209-4350-A6C8-DCE7C2CB10A7}" dt="2024-11-11T01:18:13.516" v="2604" actId="167"/>
          <ac:picMkLst>
            <pc:docMk/>
            <pc:sldMk cId="1402262612" sldId="2134806475"/>
            <ac:picMk id="16" creationId="{A2A6B16E-871B-2A6A-22A4-941F1AD965D4}"/>
          </ac:picMkLst>
        </pc:picChg>
      </pc:sldChg>
      <pc:sldChg chg="addSp delSp modSp mod">
        <pc:chgData name="Mohamed Ibissi" userId="90b6f8706c8cb808" providerId="LiveId" clId="{0A7FBB52-A209-4350-A6C8-DCE7C2CB10A7}" dt="2024-11-11T01:11:21.836" v="2516" actId="167"/>
        <pc:sldMkLst>
          <pc:docMk/>
          <pc:sldMk cId="3334976781" sldId="2134806477"/>
        </pc:sldMkLst>
        <pc:graphicFrameChg chg="del">
          <ac:chgData name="Mohamed Ibissi" userId="90b6f8706c8cb808" providerId="LiveId" clId="{0A7FBB52-A209-4350-A6C8-DCE7C2CB10A7}" dt="2024-11-11T01:11:18.913" v="2514" actId="478"/>
          <ac:graphicFrameMkLst>
            <pc:docMk/>
            <pc:sldMk cId="3334976781" sldId="2134806477"/>
            <ac:graphicFrameMk id="4" creationId="{F3370F9D-7286-9CA3-8BC2-8F08347E08E2}"/>
          </ac:graphicFrameMkLst>
        </pc:graphicFrameChg>
        <pc:picChg chg="add mod ord">
          <ac:chgData name="Mohamed Ibissi" userId="90b6f8706c8cb808" providerId="LiveId" clId="{0A7FBB52-A209-4350-A6C8-DCE7C2CB10A7}" dt="2024-11-11T01:11:21.836" v="2516" actId="167"/>
          <ac:picMkLst>
            <pc:docMk/>
            <pc:sldMk cId="3334976781" sldId="2134806477"/>
            <ac:picMk id="3" creationId="{80756BD0-A346-9643-E779-40589966DC09}"/>
          </ac:picMkLst>
        </pc:picChg>
      </pc:sldChg>
      <pc:sldChg chg="addSp delSp modSp mod delAnim modAnim">
        <pc:chgData name="Mohamed Ibissi" userId="90b6f8706c8cb808" providerId="LiveId" clId="{0A7FBB52-A209-4350-A6C8-DCE7C2CB10A7}" dt="2024-11-11T01:18:26.560" v="2607" actId="167"/>
        <pc:sldMkLst>
          <pc:docMk/>
          <pc:sldMk cId="2994503641" sldId="2134806489"/>
        </pc:sldMkLst>
        <pc:spChg chg="add mod">
          <ac:chgData name="Mohamed Ibissi" userId="90b6f8706c8cb808" providerId="LiveId" clId="{0A7FBB52-A209-4350-A6C8-DCE7C2CB10A7}" dt="2024-11-11T00:09:39.375" v="2081"/>
          <ac:spMkLst>
            <pc:docMk/>
            <pc:sldMk cId="2994503641" sldId="2134806489"/>
            <ac:spMk id="5" creationId="{073F9DFB-69D9-DB0C-DFB7-0EC660A55E3A}"/>
          </ac:spMkLst>
        </pc:spChg>
        <pc:spChg chg="add mod">
          <ac:chgData name="Mohamed Ibissi" userId="90b6f8706c8cb808" providerId="LiveId" clId="{0A7FBB52-A209-4350-A6C8-DCE7C2CB10A7}" dt="2024-11-11T00:09:39.375" v="2081"/>
          <ac:spMkLst>
            <pc:docMk/>
            <pc:sldMk cId="2994503641" sldId="2134806489"/>
            <ac:spMk id="6" creationId="{BAD65051-9E85-761C-E323-F0D0C6A3C37D}"/>
          </ac:spMkLst>
        </pc:spChg>
        <pc:spChg chg="add mod">
          <ac:chgData name="Mohamed Ibissi" userId="90b6f8706c8cb808" providerId="LiveId" clId="{0A7FBB52-A209-4350-A6C8-DCE7C2CB10A7}" dt="2024-11-11T00:09:39.375" v="2081"/>
          <ac:spMkLst>
            <pc:docMk/>
            <pc:sldMk cId="2994503641" sldId="2134806489"/>
            <ac:spMk id="7" creationId="{099066D6-F77A-B581-BCB0-5C049C1C39D6}"/>
          </ac:spMkLst>
        </pc:spChg>
        <pc:spChg chg="add mod">
          <ac:chgData name="Mohamed Ibissi" userId="90b6f8706c8cb808" providerId="LiveId" clId="{0A7FBB52-A209-4350-A6C8-DCE7C2CB10A7}" dt="2024-11-11T00:09:39.375" v="2081"/>
          <ac:spMkLst>
            <pc:docMk/>
            <pc:sldMk cId="2994503641" sldId="2134806489"/>
            <ac:spMk id="8" creationId="{520C5014-7740-17D1-F469-7890718EFC6E}"/>
          </ac:spMkLst>
        </pc:spChg>
        <pc:spChg chg="add mod">
          <ac:chgData name="Mohamed Ibissi" userId="90b6f8706c8cb808" providerId="LiveId" clId="{0A7FBB52-A209-4350-A6C8-DCE7C2CB10A7}" dt="2024-11-11T00:09:39.375" v="2081"/>
          <ac:spMkLst>
            <pc:docMk/>
            <pc:sldMk cId="2994503641" sldId="2134806489"/>
            <ac:spMk id="16" creationId="{4B045763-1027-BC89-9D93-56B474541EAB}"/>
          </ac:spMkLst>
        </pc:spChg>
        <pc:spChg chg="add mod">
          <ac:chgData name="Mohamed Ibissi" userId="90b6f8706c8cb808" providerId="LiveId" clId="{0A7FBB52-A209-4350-A6C8-DCE7C2CB10A7}" dt="2024-11-11T00:09:39.375" v="2081"/>
          <ac:spMkLst>
            <pc:docMk/>
            <pc:sldMk cId="2994503641" sldId="2134806489"/>
            <ac:spMk id="17" creationId="{99968965-3D9E-6894-E6FD-64E43C8B3A9C}"/>
          </ac:spMkLst>
        </pc:spChg>
        <pc:spChg chg="add mod">
          <ac:chgData name="Mohamed Ibissi" userId="90b6f8706c8cb808" providerId="LiveId" clId="{0A7FBB52-A209-4350-A6C8-DCE7C2CB10A7}" dt="2024-11-11T00:09:39.375" v="2081"/>
          <ac:spMkLst>
            <pc:docMk/>
            <pc:sldMk cId="2994503641" sldId="2134806489"/>
            <ac:spMk id="18" creationId="{5AC53DD8-58D3-CFB7-2169-24EB362FE971}"/>
          </ac:spMkLst>
        </pc:spChg>
        <pc:spChg chg="add mod">
          <ac:chgData name="Mohamed Ibissi" userId="90b6f8706c8cb808" providerId="LiveId" clId="{0A7FBB52-A209-4350-A6C8-DCE7C2CB10A7}" dt="2024-11-11T00:11:00.383" v="2106" actId="1038"/>
          <ac:spMkLst>
            <pc:docMk/>
            <pc:sldMk cId="2994503641" sldId="2134806489"/>
            <ac:spMk id="19" creationId="{9E855907-4864-AA30-359B-9723724D20C0}"/>
          </ac:spMkLst>
        </pc:spChg>
        <pc:spChg chg="add mod">
          <ac:chgData name="Mohamed Ibissi" userId="90b6f8706c8cb808" providerId="LiveId" clId="{0A7FBB52-A209-4350-A6C8-DCE7C2CB10A7}" dt="2024-11-11T00:09:59.282" v="2084" actId="20577"/>
          <ac:spMkLst>
            <pc:docMk/>
            <pc:sldMk cId="2994503641" sldId="2134806489"/>
            <ac:spMk id="20" creationId="{15DC8B86-F33A-E7BD-A566-2D7E03067D3F}"/>
          </ac:spMkLst>
        </pc:spChg>
        <pc:spChg chg="add mod">
          <ac:chgData name="Mohamed Ibissi" userId="90b6f8706c8cb808" providerId="LiveId" clId="{0A7FBB52-A209-4350-A6C8-DCE7C2CB10A7}" dt="2024-11-11T00:10:08.115" v="2087" actId="20577"/>
          <ac:spMkLst>
            <pc:docMk/>
            <pc:sldMk cId="2994503641" sldId="2134806489"/>
            <ac:spMk id="21" creationId="{64F13B3D-376F-6E6F-EE3C-BDD9AA8348BB}"/>
          </ac:spMkLst>
        </pc:spChg>
        <pc:spChg chg="add mod">
          <ac:chgData name="Mohamed Ibissi" userId="90b6f8706c8cb808" providerId="LiveId" clId="{0A7FBB52-A209-4350-A6C8-DCE7C2CB10A7}" dt="2024-11-11T00:10:16.728" v="2090" actId="20577"/>
          <ac:spMkLst>
            <pc:docMk/>
            <pc:sldMk cId="2994503641" sldId="2134806489"/>
            <ac:spMk id="22" creationId="{260CB0BD-5DD8-5BEF-14C6-48D69F410D15}"/>
          </ac:spMkLst>
        </pc:spChg>
        <pc:spChg chg="add mod">
          <ac:chgData name="Mohamed Ibissi" userId="90b6f8706c8cb808" providerId="LiveId" clId="{0A7FBB52-A209-4350-A6C8-DCE7C2CB10A7}" dt="2024-11-11T00:10:28.175" v="2093" actId="20577"/>
          <ac:spMkLst>
            <pc:docMk/>
            <pc:sldMk cId="2994503641" sldId="2134806489"/>
            <ac:spMk id="23" creationId="{1ECB5B92-6E43-5AE0-8E0B-922827A53473}"/>
          </ac:spMkLst>
        </pc:spChg>
        <pc:spChg chg="add mod">
          <ac:chgData name="Mohamed Ibissi" userId="90b6f8706c8cb808" providerId="LiveId" clId="{0A7FBB52-A209-4350-A6C8-DCE7C2CB10A7}" dt="2024-11-11T00:10:40.744" v="2099" actId="1038"/>
          <ac:spMkLst>
            <pc:docMk/>
            <pc:sldMk cId="2994503641" sldId="2134806489"/>
            <ac:spMk id="24" creationId="{5FBC08F0-B398-052A-3DD4-8C28F35606AB}"/>
          </ac:spMkLst>
        </pc:spChg>
        <pc:spChg chg="add mod">
          <ac:chgData name="Mohamed Ibissi" userId="90b6f8706c8cb808" providerId="LiveId" clId="{0A7FBB52-A209-4350-A6C8-DCE7C2CB10A7}" dt="2024-11-11T00:10:54.442" v="2102" actId="20577"/>
          <ac:spMkLst>
            <pc:docMk/>
            <pc:sldMk cId="2994503641" sldId="2134806489"/>
            <ac:spMk id="25" creationId="{0893E82E-ADAE-3995-B989-F7248B3ACC82}"/>
          </ac:spMkLst>
        </pc:spChg>
        <pc:spChg chg="add mod">
          <ac:chgData name="Mohamed Ibissi" userId="90b6f8706c8cb808" providerId="LiveId" clId="{0A7FBB52-A209-4350-A6C8-DCE7C2CB10A7}" dt="2024-11-11T00:11:12.003" v="2118" actId="20577"/>
          <ac:spMkLst>
            <pc:docMk/>
            <pc:sldMk cId="2994503641" sldId="2134806489"/>
            <ac:spMk id="26" creationId="{9070FB74-F938-B905-6A99-46097C402A54}"/>
          </ac:spMkLst>
        </pc:spChg>
        <pc:graphicFrameChg chg="del">
          <ac:chgData name="Mohamed Ibissi" userId="90b6f8706c8cb808" providerId="LiveId" clId="{0A7FBB52-A209-4350-A6C8-DCE7C2CB10A7}" dt="2024-11-11T01:18:23.215" v="2605" actId="478"/>
          <ac:graphicFrameMkLst>
            <pc:docMk/>
            <pc:sldMk cId="2994503641" sldId="2134806489"/>
            <ac:graphicFrameMk id="3" creationId="{B528A9FB-10BB-9B69-82EA-29551CDF759E}"/>
          </ac:graphicFrameMkLst>
        </pc:graphicFrameChg>
        <pc:picChg chg="del">
          <ac:chgData name="Mohamed Ibissi" userId="90b6f8706c8cb808" providerId="LiveId" clId="{0A7FBB52-A209-4350-A6C8-DCE7C2CB10A7}" dt="2024-11-11T00:09:30.384" v="2080" actId="478"/>
          <ac:picMkLst>
            <pc:docMk/>
            <pc:sldMk cId="2994503641" sldId="2134806489"/>
            <ac:picMk id="2" creationId="{BDB79508-F9A9-2A76-3C31-1DDEE00B5B69}"/>
          </ac:picMkLst>
        </pc:picChg>
        <pc:picChg chg="add mod">
          <ac:chgData name="Mohamed Ibissi" userId="90b6f8706c8cb808" providerId="LiveId" clId="{0A7FBB52-A209-4350-A6C8-DCE7C2CB10A7}" dt="2024-11-11T00:09:39.375" v="2081"/>
          <ac:picMkLst>
            <pc:docMk/>
            <pc:sldMk cId="2994503641" sldId="2134806489"/>
            <ac:picMk id="4" creationId="{13DEBFE3-FAA5-9B85-FE0A-F42977E252D2}"/>
          </ac:picMkLst>
        </pc:picChg>
        <pc:picChg chg="del">
          <ac:chgData name="Mohamed Ibissi" userId="90b6f8706c8cb808" providerId="LiveId" clId="{0A7FBB52-A209-4350-A6C8-DCE7C2CB10A7}" dt="2024-11-11T00:09:30.384" v="2080" actId="478"/>
          <ac:picMkLst>
            <pc:docMk/>
            <pc:sldMk cId="2994503641" sldId="2134806489"/>
            <ac:picMk id="9" creationId="{9E224191-F9A6-14EE-520C-A3FEA031F020}"/>
          </ac:picMkLst>
        </pc:picChg>
        <pc:picChg chg="del">
          <ac:chgData name="Mohamed Ibissi" userId="90b6f8706c8cb808" providerId="LiveId" clId="{0A7FBB52-A209-4350-A6C8-DCE7C2CB10A7}" dt="2024-11-11T00:09:30.384" v="2080" actId="478"/>
          <ac:picMkLst>
            <pc:docMk/>
            <pc:sldMk cId="2994503641" sldId="2134806489"/>
            <ac:picMk id="10" creationId="{FE99C7B1-EFB1-CF46-9271-CBD9121A22B5}"/>
          </ac:picMkLst>
        </pc:picChg>
        <pc:picChg chg="del">
          <ac:chgData name="Mohamed Ibissi" userId="90b6f8706c8cb808" providerId="LiveId" clId="{0A7FBB52-A209-4350-A6C8-DCE7C2CB10A7}" dt="2024-11-11T00:09:30.384" v="2080" actId="478"/>
          <ac:picMkLst>
            <pc:docMk/>
            <pc:sldMk cId="2994503641" sldId="2134806489"/>
            <ac:picMk id="11" creationId="{FFBB0007-0207-46EA-F385-4C314982E4F8}"/>
          </ac:picMkLst>
        </pc:picChg>
        <pc:picChg chg="del">
          <ac:chgData name="Mohamed Ibissi" userId="90b6f8706c8cb808" providerId="LiveId" clId="{0A7FBB52-A209-4350-A6C8-DCE7C2CB10A7}" dt="2024-11-11T00:09:30.384" v="2080" actId="478"/>
          <ac:picMkLst>
            <pc:docMk/>
            <pc:sldMk cId="2994503641" sldId="2134806489"/>
            <ac:picMk id="12" creationId="{1AEC72F0-DEAC-D8CC-6CD6-6937BAAB8B3B}"/>
          </ac:picMkLst>
        </pc:picChg>
        <pc:picChg chg="del">
          <ac:chgData name="Mohamed Ibissi" userId="90b6f8706c8cb808" providerId="LiveId" clId="{0A7FBB52-A209-4350-A6C8-DCE7C2CB10A7}" dt="2024-11-11T00:09:30.384" v="2080" actId="478"/>
          <ac:picMkLst>
            <pc:docMk/>
            <pc:sldMk cId="2994503641" sldId="2134806489"/>
            <ac:picMk id="14" creationId="{12779804-ACD7-388A-529D-C815E0DDC993}"/>
          </ac:picMkLst>
        </pc:picChg>
        <pc:picChg chg="add mod ord">
          <ac:chgData name="Mohamed Ibissi" userId="90b6f8706c8cb808" providerId="LiveId" clId="{0A7FBB52-A209-4350-A6C8-DCE7C2CB10A7}" dt="2024-11-11T01:18:26.560" v="2607" actId="167"/>
          <ac:picMkLst>
            <pc:docMk/>
            <pc:sldMk cId="2994503641" sldId="2134806489"/>
            <ac:picMk id="27" creationId="{56DF599E-B243-EE75-BD1C-9460DE878580}"/>
          </ac:picMkLst>
        </pc:picChg>
      </pc:sldChg>
      <pc:sldChg chg="addSp delSp modSp mod delAnim modAnim">
        <pc:chgData name="Mohamed Ibissi" userId="90b6f8706c8cb808" providerId="LiveId" clId="{0A7FBB52-A209-4350-A6C8-DCE7C2CB10A7}" dt="2024-11-11T01:19:13.324" v="2616" actId="167"/>
        <pc:sldMkLst>
          <pc:docMk/>
          <pc:sldMk cId="2739923162" sldId="2134806494"/>
        </pc:sldMkLst>
        <pc:spChg chg="mod">
          <ac:chgData name="Mohamed Ibissi" userId="90b6f8706c8cb808" providerId="LiveId" clId="{0A7FBB52-A209-4350-A6C8-DCE7C2CB10A7}" dt="2024-11-11T00:20:52.765" v="2218"/>
          <ac:spMkLst>
            <pc:docMk/>
            <pc:sldMk cId="2739923162" sldId="2134806494"/>
            <ac:spMk id="5" creationId="{B5337C49-A215-28C3-D702-79EAC5BE2C53}"/>
          </ac:spMkLst>
        </pc:spChg>
        <pc:spChg chg="mod">
          <ac:chgData name="Mohamed Ibissi" userId="90b6f8706c8cb808" providerId="LiveId" clId="{0A7FBB52-A209-4350-A6C8-DCE7C2CB10A7}" dt="2024-11-11T00:20:52.765" v="2218"/>
          <ac:spMkLst>
            <pc:docMk/>
            <pc:sldMk cId="2739923162" sldId="2134806494"/>
            <ac:spMk id="6" creationId="{E7557968-4815-D92C-06FE-C25B826B4143}"/>
          </ac:spMkLst>
        </pc:spChg>
        <pc:spChg chg="mod">
          <ac:chgData name="Mohamed Ibissi" userId="90b6f8706c8cb808" providerId="LiveId" clId="{0A7FBB52-A209-4350-A6C8-DCE7C2CB10A7}" dt="2024-11-11T00:20:52.765" v="2218"/>
          <ac:spMkLst>
            <pc:docMk/>
            <pc:sldMk cId="2739923162" sldId="2134806494"/>
            <ac:spMk id="7" creationId="{32A6B78B-75CD-134A-25AA-C6BA99D5C735}"/>
          </ac:spMkLst>
        </pc:spChg>
        <pc:spChg chg="mod">
          <ac:chgData name="Mohamed Ibissi" userId="90b6f8706c8cb808" providerId="LiveId" clId="{0A7FBB52-A209-4350-A6C8-DCE7C2CB10A7}" dt="2024-11-11T00:20:52.765" v="2218"/>
          <ac:spMkLst>
            <pc:docMk/>
            <pc:sldMk cId="2739923162" sldId="2134806494"/>
            <ac:spMk id="13" creationId="{B335E0BD-1101-8A67-5F16-F487DC9B0AC9}"/>
          </ac:spMkLst>
        </pc:spChg>
        <pc:spChg chg="mod">
          <ac:chgData name="Mohamed Ibissi" userId="90b6f8706c8cb808" providerId="LiveId" clId="{0A7FBB52-A209-4350-A6C8-DCE7C2CB10A7}" dt="2024-11-11T00:20:52.765" v="2218"/>
          <ac:spMkLst>
            <pc:docMk/>
            <pc:sldMk cId="2739923162" sldId="2134806494"/>
            <ac:spMk id="14" creationId="{AE675E89-2AFF-8442-5B5F-1B7B9976E3B5}"/>
          </ac:spMkLst>
        </pc:spChg>
        <pc:spChg chg="mod">
          <ac:chgData name="Mohamed Ibissi" userId="90b6f8706c8cb808" providerId="LiveId" clId="{0A7FBB52-A209-4350-A6C8-DCE7C2CB10A7}" dt="2024-11-11T00:20:52.765" v="2218"/>
          <ac:spMkLst>
            <pc:docMk/>
            <pc:sldMk cId="2739923162" sldId="2134806494"/>
            <ac:spMk id="15" creationId="{DD9D6FDB-28EC-ACAB-12B3-D77147600219}"/>
          </ac:spMkLst>
        </pc:spChg>
        <pc:spChg chg="mod">
          <ac:chgData name="Mohamed Ibissi" userId="90b6f8706c8cb808" providerId="LiveId" clId="{0A7FBB52-A209-4350-A6C8-DCE7C2CB10A7}" dt="2024-11-11T00:20:52.765" v="2218"/>
          <ac:spMkLst>
            <pc:docMk/>
            <pc:sldMk cId="2739923162" sldId="2134806494"/>
            <ac:spMk id="18" creationId="{F1E15872-48C6-4ECD-B5EA-378AD304C71F}"/>
          </ac:spMkLst>
        </pc:spChg>
        <pc:spChg chg="mod">
          <ac:chgData name="Mohamed Ibissi" userId="90b6f8706c8cb808" providerId="LiveId" clId="{0A7FBB52-A209-4350-A6C8-DCE7C2CB10A7}" dt="2024-11-11T00:20:52.765" v="2218"/>
          <ac:spMkLst>
            <pc:docMk/>
            <pc:sldMk cId="2739923162" sldId="2134806494"/>
            <ac:spMk id="19" creationId="{AEE7EA77-D45B-B52A-AB18-A1E31C450018}"/>
          </ac:spMkLst>
        </pc:spChg>
        <pc:spChg chg="mod">
          <ac:chgData name="Mohamed Ibissi" userId="90b6f8706c8cb808" providerId="LiveId" clId="{0A7FBB52-A209-4350-A6C8-DCE7C2CB10A7}" dt="2024-11-11T00:20:52.765" v="2218"/>
          <ac:spMkLst>
            <pc:docMk/>
            <pc:sldMk cId="2739923162" sldId="2134806494"/>
            <ac:spMk id="20" creationId="{E401C998-7687-94FA-3A68-A5D42A794649}"/>
          </ac:spMkLst>
        </pc:spChg>
        <pc:spChg chg="mod">
          <ac:chgData name="Mohamed Ibissi" userId="90b6f8706c8cb808" providerId="LiveId" clId="{0A7FBB52-A209-4350-A6C8-DCE7C2CB10A7}" dt="2024-11-11T00:20:52.765" v="2218"/>
          <ac:spMkLst>
            <pc:docMk/>
            <pc:sldMk cId="2739923162" sldId="2134806494"/>
            <ac:spMk id="24" creationId="{535A925C-0F51-2710-9422-58F1845828D9}"/>
          </ac:spMkLst>
        </pc:spChg>
        <pc:spChg chg="mod">
          <ac:chgData name="Mohamed Ibissi" userId="90b6f8706c8cb808" providerId="LiveId" clId="{0A7FBB52-A209-4350-A6C8-DCE7C2CB10A7}" dt="2024-11-11T00:20:52.765" v="2218"/>
          <ac:spMkLst>
            <pc:docMk/>
            <pc:sldMk cId="2739923162" sldId="2134806494"/>
            <ac:spMk id="25" creationId="{0BB333E5-68E3-C0FD-85AC-3198BD25EDA0}"/>
          </ac:spMkLst>
        </pc:spChg>
        <pc:spChg chg="mod">
          <ac:chgData name="Mohamed Ibissi" userId="90b6f8706c8cb808" providerId="LiveId" clId="{0A7FBB52-A209-4350-A6C8-DCE7C2CB10A7}" dt="2024-11-11T00:20:52.765" v="2218"/>
          <ac:spMkLst>
            <pc:docMk/>
            <pc:sldMk cId="2739923162" sldId="2134806494"/>
            <ac:spMk id="26" creationId="{44112B69-8654-348D-4B3E-C5AC00A5BB13}"/>
          </ac:spMkLst>
        </pc:spChg>
        <pc:spChg chg="mod">
          <ac:chgData name="Mohamed Ibissi" userId="90b6f8706c8cb808" providerId="LiveId" clId="{0A7FBB52-A209-4350-A6C8-DCE7C2CB10A7}" dt="2024-11-11T00:21:31.197" v="2223"/>
          <ac:spMkLst>
            <pc:docMk/>
            <pc:sldMk cId="2739923162" sldId="2134806494"/>
            <ac:spMk id="30" creationId="{725B72AF-D1BB-7213-A304-49DD779B237A}"/>
          </ac:spMkLst>
        </pc:spChg>
        <pc:spChg chg="mod">
          <ac:chgData name="Mohamed Ibissi" userId="90b6f8706c8cb808" providerId="LiveId" clId="{0A7FBB52-A209-4350-A6C8-DCE7C2CB10A7}" dt="2024-11-11T00:21:31.197" v="2223"/>
          <ac:spMkLst>
            <pc:docMk/>
            <pc:sldMk cId="2739923162" sldId="2134806494"/>
            <ac:spMk id="31" creationId="{5526035B-2A03-1D92-0734-1F1266ADD06A}"/>
          </ac:spMkLst>
        </pc:spChg>
        <pc:spChg chg="mod">
          <ac:chgData name="Mohamed Ibissi" userId="90b6f8706c8cb808" providerId="LiveId" clId="{0A7FBB52-A209-4350-A6C8-DCE7C2CB10A7}" dt="2024-11-11T00:21:31.197" v="2223"/>
          <ac:spMkLst>
            <pc:docMk/>
            <pc:sldMk cId="2739923162" sldId="2134806494"/>
            <ac:spMk id="32" creationId="{5F3DEC99-A51D-7522-FE3E-1E5F1A2B4FE9}"/>
          </ac:spMkLst>
        </pc:spChg>
        <pc:spChg chg="mod">
          <ac:chgData name="Mohamed Ibissi" userId="90b6f8706c8cb808" providerId="LiveId" clId="{0A7FBB52-A209-4350-A6C8-DCE7C2CB10A7}" dt="2024-11-11T00:21:31.197" v="2223"/>
          <ac:spMkLst>
            <pc:docMk/>
            <pc:sldMk cId="2739923162" sldId="2134806494"/>
            <ac:spMk id="36" creationId="{2E6B5E58-802A-CA61-8A65-FEE2B550EFB8}"/>
          </ac:spMkLst>
        </pc:spChg>
        <pc:spChg chg="mod">
          <ac:chgData name="Mohamed Ibissi" userId="90b6f8706c8cb808" providerId="LiveId" clId="{0A7FBB52-A209-4350-A6C8-DCE7C2CB10A7}" dt="2024-11-11T00:21:31.197" v="2223"/>
          <ac:spMkLst>
            <pc:docMk/>
            <pc:sldMk cId="2739923162" sldId="2134806494"/>
            <ac:spMk id="37" creationId="{57C0659A-7D8A-AD37-DF3A-CB8D66C77413}"/>
          </ac:spMkLst>
        </pc:spChg>
        <pc:spChg chg="mod">
          <ac:chgData name="Mohamed Ibissi" userId="90b6f8706c8cb808" providerId="LiveId" clId="{0A7FBB52-A209-4350-A6C8-DCE7C2CB10A7}" dt="2024-11-11T00:21:31.197" v="2223"/>
          <ac:spMkLst>
            <pc:docMk/>
            <pc:sldMk cId="2739923162" sldId="2134806494"/>
            <ac:spMk id="38" creationId="{6D4E1F6E-8AB7-B9B2-85A9-C208EF95E287}"/>
          </ac:spMkLst>
        </pc:spChg>
        <pc:spChg chg="mod">
          <ac:chgData name="Mohamed Ibissi" userId="90b6f8706c8cb808" providerId="LiveId" clId="{0A7FBB52-A209-4350-A6C8-DCE7C2CB10A7}" dt="2024-11-11T00:21:31.197" v="2223"/>
          <ac:spMkLst>
            <pc:docMk/>
            <pc:sldMk cId="2739923162" sldId="2134806494"/>
            <ac:spMk id="42" creationId="{AB5AA707-32C0-0D85-85EF-375AE9E84155}"/>
          </ac:spMkLst>
        </pc:spChg>
        <pc:spChg chg="mod">
          <ac:chgData name="Mohamed Ibissi" userId="90b6f8706c8cb808" providerId="LiveId" clId="{0A7FBB52-A209-4350-A6C8-DCE7C2CB10A7}" dt="2024-11-11T00:21:31.197" v="2223"/>
          <ac:spMkLst>
            <pc:docMk/>
            <pc:sldMk cId="2739923162" sldId="2134806494"/>
            <ac:spMk id="43" creationId="{E8199939-C536-0DDB-6B6E-EB899E4734AB}"/>
          </ac:spMkLst>
        </pc:spChg>
        <pc:spChg chg="mod">
          <ac:chgData name="Mohamed Ibissi" userId="90b6f8706c8cb808" providerId="LiveId" clId="{0A7FBB52-A209-4350-A6C8-DCE7C2CB10A7}" dt="2024-11-11T00:21:31.197" v="2223"/>
          <ac:spMkLst>
            <pc:docMk/>
            <pc:sldMk cId="2739923162" sldId="2134806494"/>
            <ac:spMk id="44" creationId="{B2236A06-4651-D9B8-CF2E-ADF4082C2E97}"/>
          </ac:spMkLst>
        </pc:spChg>
        <pc:grpChg chg="add mod">
          <ac:chgData name="Mohamed Ibissi" userId="90b6f8706c8cb808" providerId="LiveId" clId="{0A7FBB52-A209-4350-A6C8-DCE7C2CB10A7}" dt="2024-11-11T00:20:52.765" v="2218"/>
          <ac:grpSpMkLst>
            <pc:docMk/>
            <pc:sldMk cId="2739923162" sldId="2134806494"/>
            <ac:grpSpMk id="3" creationId="{F92981F5-4D0B-A21C-6EC1-8C806D27E66D}"/>
          </ac:grpSpMkLst>
        </pc:grpChg>
        <pc:grpChg chg="add mod">
          <ac:chgData name="Mohamed Ibissi" userId="90b6f8706c8cb808" providerId="LiveId" clId="{0A7FBB52-A209-4350-A6C8-DCE7C2CB10A7}" dt="2024-11-11T00:20:52.765" v="2218"/>
          <ac:grpSpMkLst>
            <pc:docMk/>
            <pc:sldMk cId="2739923162" sldId="2134806494"/>
            <ac:grpSpMk id="11" creationId="{78F18D7A-3D27-E7F8-2E16-8BFA5BF8EDB0}"/>
          </ac:grpSpMkLst>
        </pc:grpChg>
        <pc:grpChg chg="add mod">
          <ac:chgData name="Mohamed Ibissi" userId="90b6f8706c8cb808" providerId="LiveId" clId="{0A7FBB52-A209-4350-A6C8-DCE7C2CB10A7}" dt="2024-11-11T00:20:52.765" v="2218"/>
          <ac:grpSpMkLst>
            <pc:docMk/>
            <pc:sldMk cId="2739923162" sldId="2134806494"/>
            <ac:grpSpMk id="16" creationId="{E45D6B01-F6B2-7DBA-AE70-656F336F1059}"/>
          </ac:grpSpMkLst>
        </pc:grpChg>
        <pc:grpChg chg="add mod">
          <ac:chgData name="Mohamed Ibissi" userId="90b6f8706c8cb808" providerId="LiveId" clId="{0A7FBB52-A209-4350-A6C8-DCE7C2CB10A7}" dt="2024-11-11T00:20:52.765" v="2218"/>
          <ac:grpSpMkLst>
            <pc:docMk/>
            <pc:sldMk cId="2739923162" sldId="2134806494"/>
            <ac:grpSpMk id="22" creationId="{586EB1A2-232F-C7A0-0280-FF579E8EC160}"/>
          </ac:grpSpMkLst>
        </pc:grpChg>
        <pc:grpChg chg="add del mod">
          <ac:chgData name="Mohamed Ibissi" userId="90b6f8706c8cb808" providerId="LiveId" clId="{0A7FBB52-A209-4350-A6C8-DCE7C2CB10A7}" dt="2024-11-11T00:21:32.792" v="2224" actId="478"/>
          <ac:grpSpMkLst>
            <pc:docMk/>
            <pc:sldMk cId="2739923162" sldId="2134806494"/>
            <ac:grpSpMk id="28" creationId="{D1F9C1DD-3D3F-9BC9-EE48-AEB39CCC0913}"/>
          </ac:grpSpMkLst>
        </pc:grpChg>
        <pc:grpChg chg="add del mod">
          <ac:chgData name="Mohamed Ibissi" userId="90b6f8706c8cb808" providerId="LiveId" clId="{0A7FBB52-A209-4350-A6C8-DCE7C2CB10A7}" dt="2024-11-11T00:21:32.792" v="2224" actId="478"/>
          <ac:grpSpMkLst>
            <pc:docMk/>
            <pc:sldMk cId="2739923162" sldId="2134806494"/>
            <ac:grpSpMk id="34" creationId="{3D9F0415-CA5A-2FB5-AF8B-91E0DB3EB364}"/>
          </ac:grpSpMkLst>
        </pc:grpChg>
        <pc:grpChg chg="add del mod">
          <ac:chgData name="Mohamed Ibissi" userId="90b6f8706c8cb808" providerId="LiveId" clId="{0A7FBB52-A209-4350-A6C8-DCE7C2CB10A7}" dt="2024-11-11T00:21:32.792" v="2224" actId="478"/>
          <ac:grpSpMkLst>
            <pc:docMk/>
            <pc:sldMk cId="2739923162" sldId="2134806494"/>
            <ac:grpSpMk id="40" creationId="{AACD3C29-A3BF-5EDC-87F5-49D1EDA9A9F3}"/>
          </ac:grpSpMkLst>
        </pc:grpChg>
        <pc:graphicFrameChg chg="del">
          <ac:chgData name="Mohamed Ibissi" userId="90b6f8706c8cb808" providerId="LiveId" clId="{0A7FBB52-A209-4350-A6C8-DCE7C2CB10A7}" dt="2024-11-11T01:18:56.860" v="2614" actId="478"/>
          <ac:graphicFrameMkLst>
            <pc:docMk/>
            <pc:sldMk cId="2739923162" sldId="2134806494"/>
            <ac:graphicFrameMk id="9" creationId="{ECA6A1FC-8CDD-44EE-E58A-8C6A511CE020}"/>
          </ac:graphicFrameMkLst>
        </pc:graphicFrameChg>
        <pc:picChg chg="del">
          <ac:chgData name="Mohamed Ibissi" userId="90b6f8706c8cb808" providerId="LiveId" clId="{0A7FBB52-A209-4350-A6C8-DCE7C2CB10A7}" dt="2024-11-11T00:20:15.325" v="2217" actId="478"/>
          <ac:picMkLst>
            <pc:docMk/>
            <pc:sldMk cId="2739923162" sldId="2134806494"/>
            <ac:picMk id="2" creationId="{7E34697A-9AD9-6F5E-996C-31B4896F8AAE}"/>
          </ac:picMkLst>
        </pc:picChg>
        <pc:picChg chg="mod">
          <ac:chgData name="Mohamed Ibissi" userId="90b6f8706c8cb808" providerId="LiveId" clId="{0A7FBB52-A209-4350-A6C8-DCE7C2CB10A7}" dt="2024-11-11T00:20:52.765" v="2218"/>
          <ac:picMkLst>
            <pc:docMk/>
            <pc:sldMk cId="2739923162" sldId="2134806494"/>
            <ac:picMk id="4" creationId="{CCB33BE2-DD83-FE59-F37C-B9BF1D0E531C}"/>
          </ac:picMkLst>
        </pc:picChg>
        <pc:picChg chg="mod">
          <ac:chgData name="Mohamed Ibissi" userId="90b6f8706c8cb808" providerId="LiveId" clId="{0A7FBB52-A209-4350-A6C8-DCE7C2CB10A7}" dt="2024-11-11T00:20:52.765" v="2218"/>
          <ac:picMkLst>
            <pc:docMk/>
            <pc:sldMk cId="2739923162" sldId="2134806494"/>
            <ac:picMk id="12" creationId="{652DB452-8B76-3FA9-D72A-6E1AFE71B252}"/>
          </ac:picMkLst>
        </pc:picChg>
        <pc:picChg chg="mod">
          <ac:chgData name="Mohamed Ibissi" userId="90b6f8706c8cb808" providerId="LiveId" clId="{0A7FBB52-A209-4350-A6C8-DCE7C2CB10A7}" dt="2024-11-11T00:20:52.765" v="2218"/>
          <ac:picMkLst>
            <pc:docMk/>
            <pc:sldMk cId="2739923162" sldId="2134806494"/>
            <ac:picMk id="17" creationId="{415B991D-0730-B6DD-0D76-1E56738D4C3C}"/>
          </ac:picMkLst>
        </pc:picChg>
        <pc:picChg chg="mod">
          <ac:chgData name="Mohamed Ibissi" userId="90b6f8706c8cb808" providerId="LiveId" clId="{0A7FBB52-A209-4350-A6C8-DCE7C2CB10A7}" dt="2024-11-11T00:20:52.765" v="2218"/>
          <ac:picMkLst>
            <pc:docMk/>
            <pc:sldMk cId="2739923162" sldId="2134806494"/>
            <ac:picMk id="23" creationId="{5A408A72-A685-10E3-4B3E-E72EDA07DA73}"/>
          </ac:picMkLst>
        </pc:picChg>
        <pc:picChg chg="add mod">
          <ac:chgData name="Mohamed Ibissi" userId="90b6f8706c8cb808" providerId="LiveId" clId="{0A7FBB52-A209-4350-A6C8-DCE7C2CB10A7}" dt="2024-11-11T00:22:05.876" v="2234" actId="1076"/>
          <ac:picMkLst>
            <pc:docMk/>
            <pc:sldMk cId="2739923162" sldId="2134806494"/>
            <ac:picMk id="27" creationId="{B3A7583F-BF35-5398-B652-CBF795758169}"/>
          </ac:picMkLst>
        </pc:picChg>
        <pc:picChg chg="mod">
          <ac:chgData name="Mohamed Ibissi" userId="90b6f8706c8cb808" providerId="LiveId" clId="{0A7FBB52-A209-4350-A6C8-DCE7C2CB10A7}" dt="2024-11-11T00:21:31.197" v="2223"/>
          <ac:picMkLst>
            <pc:docMk/>
            <pc:sldMk cId="2739923162" sldId="2134806494"/>
            <ac:picMk id="29" creationId="{227AF1A6-5E6C-3849-2BF4-22A2E1313E8A}"/>
          </ac:picMkLst>
        </pc:picChg>
        <pc:picChg chg="mod">
          <ac:chgData name="Mohamed Ibissi" userId="90b6f8706c8cb808" providerId="LiveId" clId="{0A7FBB52-A209-4350-A6C8-DCE7C2CB10A7}" dt="2024-11-11T00:21:31.197" v="2223"/>
          <ac:picMkLst>
            <pc:docMk/>
            <pc:sldMk cId="2739923162" sldId="2134806494"/>
            <ac:picMk id="35" creationId="{D6FAEC33-DACE-B155-C553-333102EDD3BB}"/>
          </ac:picMkLst>
        </pc:picChg>
        <pc:picChg chg="mod">
          <ac:chgData name="Mohamed Ibissi" userId="90b6f8706c8cb808" providerId="LiveId" clId="{0A7FBB52-A209-4350-A6C8-DCE7C2CB10A7}" dt="2024-11-11T00:21:31.197" v="2223"/>
          <ac:picMkLst>
            <pc:docMk/>
            <pc:sldMk cId="2739923162" sldId="2134806494"/>
            <ac:picMk id="41" creationId="{B70E8349-359C-8FC9-5CE7-13F91BB71278}"/>
          </ac:picMkLst>
        </pc:picChg>
        <pc:picChg chg="add mod">
          <ac:chgData name="Mohamed Ibissi" userId="90b6f8706c8cb808" providerId="LiveId" clId="{0A7FBB52-A209-4350-A6C8-DCE7C2CB10A7}" dt="2024-11-11T00:22:01.717" v="2233" actId="1076"/>
          <ac:picMkLst>
            <pc:docMk/>
            <pc:sldMk cId="2739923162" sldId="2134806494"/>
            <ac:picMk id="45" creationId="{30863253-5444-3107-1FFB-A43962D4C133}"/>
          </ac:picMkLst>
        </pc:picChg>
        <pc:picChg chg="add mod ord">
          <ac:chgData name="Mohamed Ibissi" userId="90b6f8706c8cb808" providerId="LiveId" clId="{0A7FBB52-A209-4350-A6C8-DCE7C2CB10A7}" dt="2024-11-11T01:19:13.324" v="2616" actId="167"/>
          <ac:picMkLst>
            <pc:docMk/>
            <pc:sldMk cId="2739923162" sldId="2134806494"/>
            <ac:picMk id="46" creationId="{557B3F5A-5A38-912A-908C-9275BA2E1945}"/>
          </ac:picMkLst>
        </pc:picChg>
        <pc:cxnChg chg="add mod">
          <ac:chgData name="Mohamed Ibissi" userId="90b6f8706c8cb808" providerId="LiveId" clId="{0A7FBB52-A209-4350-A6C8-DCE7C2CB10A7}" dt="2024-11-11T00:20:52.765" v="2218"/>
          <ac:cxnSpMkLst>
            <pc:docMk/>
            <pc:sldMk cId="2739923162" sldId="2134806494"/>
            <ac:cxnSpMk id="10" creationId="{F41F59CD-CA3A-9587-0BBA-8DD4671EEB68}"/>
          </ac:cxnSpMkLst>
        </pc:cxnChg>
        <pc:cxnChg chg="add mod">
          <ac:chgData name="Mohamed Ibissi" userId="90b6f8706c8cb808" providerId="LiveId" clId="{0A7FBB52-A209-4350-A6C8-DCE7C2CB10A7}" dt="2024-11-11T00:20:52.765" v="2218"/>
          <ac:cxnSpMkLst>
            <pc:docMk/>
            <pc:sldMk cId="2739923162" sldId="2134806494"/>
            <ac:cxnSpMk id="21" creationId="{745CB166-957B-26E9-05E5-9C52F3512770}"/>
          </ac:cxnSpMkLst>
        </pc:cxnChg>
        <pc:cxnChg chg="add del mod">
          <ac:chgData name="Mohamed Ibissi" userId="90b6f8706c8cb808" providerId="LiveId" clId="{0A7FBB52-A209-4350-A6C8-DCE7C2CB10A7}" dt="2024-11-11T00:21:32.792" v="2224" actId="478"/>
          <ac:cxnSpMkLst>
            <pc:docMk/>
            <pc:sldMk cId="2739923162" sldId="2134806494"/>
            <ac:cxnSpMk id="33" creationId="{496AB038-9701-1930-534A-5BC418642AB0}"/>
          </ac:cxnSpMkLst>
        </pc:cxnChg>
        <pc:cxnChg chg="add del mod">
          <ac:chgData name="Mohamed Ibissi" userId="90b6f8706c8cb808" providerId="LiveId" clId="{0A7FBB52-A209-4350-A6C8-DCE7C2CB10A7}" dt="2024-11-11T00:21:32.792" v="2224" actId="478"/>
          <ac:cxnSpMkLst>
            <pc:docMk/>
            <pc:sldMk cId="2739923162" sldId="2134806494"/>
            <ac:cxnSpMk id="39" creationId="{CE802D51-C1B9-7F8C-DA1B-9810F2A9A713}"/>
          </ac:cxnSpMkLst>
        </pc:cxnChg>
      </pc:sldChg>
      <pc:sldChg chg="addSp delSp modSp mod">
        <pc:chgData name="Mohamed Ibissi" userId="90b6f8706c8cb808" providerId="LiveId" clId="{0A7FBB52-A209-4350-A6C8-DCE7C2CB10A7}" dt="2024-11-11T01:19:32.728" v="2619" actId="167"/>
        <pc:sldMkLst>
          <pc:docMk/>
          <pc:sldMk cId="3765465306" sldId="2134806495"/>
        </pc:sldMkLst>
        <pc:spChg chg="mod">
          <ac:chgData name="Mohamed Ibissi" userId="90b6f8706c8cb808" providerId="LiveId" clId="{0A7FBB52-A209-4350-A6C8-DCE7C2CB10A7}" dt="2024-11-11T00:22:41.197" v="2241" actId="20577"/>
          <ac:spMkLst>
            <pc:docMk/>
            <pc:sldMk cId="3765465306" sldId="2134806495"/>
            <ac:spMk id="4" creationId="{2847F445-0034-73EA-7EC6-54999794235D}"/>
          </ac:spMkLst>
        </pc:spChg>
        <pc:graphicFrameChg chg="del">
          <ac:chgData name="Mohamed Ibissi" userId="90b6f8706c8cb808" providerId="LiveId" clId="{0A7FBB52-A209-4350-A6C8-DCE7C2CB10A7}" dt="2024-11-11T01:19:28.926" v="2617" actId="478"/>
          <ac:graphicFrameMkLst>
            <pc:docMk/>
            <pc:sldMk cId="3765465306" sldId="2134806495"/>
            <ac:graphicFrameMk id="9" creationId="{DDDBEF2D-B5D8-EABB-DE5B-A248136118D3}"/>
          </ac:graphicFrameMkLst>
        </pc:graphicFrameChg>
        <pc:picChg chg="mod">
          <ac:chgData name="Mohamed Ibissi" userId="90b6f8706c8cb808" providerId="LiveId" clId="{0A7FBB52-A209-4350-A6C8-DCE7C2CB10A7}" dt="2024-11-11T00:23:50.561" v="2242" actId="14826"/>
          <ac:picMkLst>
            <pc:docMk/>
            <pc:sldMk cId="3765465306" sldId="2134806495"/>
            <ac:picMk id="2" creationId="{C94827C3-2196-10E3-BA9C-D08BAEE2EB4A}"/>
          </ac:picMkLst>
        </pc:picChg>
        <pc:picChg chg="mod">
          <ac:chgData name="Mohamed Ibissi" userId="90b6f8706c8cb808" providerId="LiveId" clId="{0A7FBB52-A209-4350-A6C8-DCE7C2CB10A7}" dt="2024-11-11T00:24:33.683" v="2243" actId="14826"/>
          <ac:picMkLst>
            <pc:docMk/>
            <pc:sldMk cId="3765465306" sldId="2134806495"/>
            <ac:picMk id="3" creationId="{66038B6C-AD40-09D6-B303-B619550392AA}"/>
          </ac:picMkLst>
        </pc:picChg>
        <pc:picChg chg="add mod ord">
          <ac:chgData name="Mohamed Ibissi" userId="90b6f8706c8cb808" providerId="LiveId" clId="{0A7FBB52-A209-4350-A6C8-DCE7C2CB10A7}" dt="2024-11-11T01:19:32.728" v="2619" actId="167"/>
          <ac:picMkLst>
            <pc:docMk/>
            <pc:sldMk cId="3765465306" sldId="2134806495"/>
            <ac:picMk id="5" creationId="{BC688830-5F78-3F6A-07FF-25D26CF9B726}"/>
          </ac:picMkLst>
        </pc:picChg>
      </pc:sldChg>
      <pc:sldChg chg="addSp delSp modSp mod">
        <pc:chgData name="Mohamed Ibissi" userId="90b6f8706c8cb808" providerId="LiveId" clId="{0A7FBB52-A209-4350-A6C8-DCE7C2CB10A7}" dt="2024-11-11T01:19:44.454" v="2622" actId="167"/>
        <pc:sldMkLst>
          <pc:docMk/>
          <pc:sldMk cId="2195612703" sldId="2134806496"/>
        </pc:sldMkLst>
        <pc:graphicFrameChg chg="del">
          <ac:chgData name="Mohamed Ibissi" userId="90b6f8706c8cb808" providerId="LiveId" clId="{0A7FBB52-A209-4350-A6C8-DCE7C2CB10A7}" dt="2024-11-11T01:19:41.374" v="2620" actId="478"/>
          <ac:graphicFrameMkLst>
            <pc:docMk/>
            <pc:sldMk cId="2195612703" sldId="2134806496"/>
            <ac:graphicFrameMk id="9" creationId="{761AF818-5860-0D0E-6F5F-862907C07B65}"/>
          </ac:graphicFrameMkLst>
        </pc:graphicFrameChg>
        <pc:picChg chg="add mod ord">
          <ac:chgData name="Mohamed Ibissi" userId="90b6f8706c8cb808" providerId="LiveId" clId="{0A7FBB52-A209-4350-A6C8-DCE7C2CB10A7}" dt="2024-11-11T01:19:44.454" v="2622" actId="167"/>
          <ac:picMkLst>
            <pc:docMk/>
            <pc:sldMk cId="2195612703" sldId="2134806496"/>
            <ac:picMk id="2" creationId="{50FB4FDB-0E10-AA0C-6037-044F45C4FB77}"/>
          </ac:picMkLst>
        </pc:picChg>
      </pc:sldChg>
      <pc:sldChg chg="addSp delSp modSp mod">
        <pc:chgData name="Mohamed Ibissi" userId="90b6f8706c8cb808" providerId="LiveId" clId="{0A7FBB52-A209-4350-A6C8-DCE7C2CB10A7}" dt="2024-11-12T14:57:44.206" v="2637" actId="1076"/>
        <pc:sldMkLst>
          <pc:docMk/>
          <pc:sldMk cId="1369903470" sldId="2134806497"/>
        </pc:sldMkLst>
        <pc:graphicFrameChg chg="del">
          <ac:chgData name="Mohamed Ibissi" userId="90b6f8706c8cb808" providerId="LiveId" clId="{0A7FBB52-A209-4350-A6C8-DCE7C2CB10A7}" dt="2024-11-11T00:56:37.600" v="2338" actId="478"/>
          <ac:graphicFrameMkLst>
            <pc:docMk/>
            <pc:sldMk cId="1369903470" sldId="2134806497"/>
            <ac:graphicFrameMk id="2" creationId="{7C2FDB58-24BF-79C3-C205-1D7E596416DD}"/>
          </ac:graphicFrameMkLst>
        </pc:graphicFrameChg>
        <pc:picChg chg="add mod ord">
          <ac:chgData name="Mohamed Ibissi" userId="90b6f8706c8cb808" providerId="LiveId" clId="{0A7FBB52-A209-4350-A6C8-DCE7C2CB10A7}" dt="2024-11-11T00:56:42.213" v="2340" actId="167"/>
          <ac:picMkLst>
            <pc:docMk/>
            <pc:sldMk cId="1369903470" sldId="2134806497"/>
            <ac:picMk id="5" creationId="{90BE3E36-9B34-B7CD-BFF3-C78A5751426F}"/>
          </ac:picMkLst>
        </pc:picChg>
        <pc:picChg chg="add mod">
          <ac:chgData name="Mohamed Ibissi" userId="90b6f8706c8cb808" providerId="LiveId" clId="{0A7FBB52-A209-4350-A6C8-DCE7C2CB10A7}" dt="2024-11-12T14:57:44.206" v="2637" actId="1076"/>
          <ac:picMkLst>
            <pc:docMk/>
            <pc:sldMk cId="1369903470" sldId="2134806497"/>
            <ac:picMk id="6" creationId="{62001E22-9A92-92A0-B9BC-9E14B3EDFE17}"/>
          </ac:picMkLst>
        </pc:picChg>
        <pc:picChg chg="del">
          <ac:chgData name="Mohamed Ibissi" userId="90b6f8706c8cb808" providerId="LiveId" clId="{0A7FBB52-A209-4350-A6C8-DCE7C2CB10A7}" dt="2024-11-12T14:57:34.230" v="2635" actId="478"/>
          <ac:picMkLst>
            <pc:docMk/>
            <pc:sldMk cId="1369903470" sldId="2134806497"/>
            <ac:picMk id="17" creationId="{05E21198-79E7-86E6-C58A-45E8890366A9}"/>
          </ac:picMkLst>
        </pc:picChg>
      </pc:sldChg>
      <pc:sldChg chg="addSp delSp modSp mod">
        <pc:chgData name="Mohamed Ibissi" userId="90b6f8706c8cb808" providerId="LiveId" clId="{0A7FBB52-A209-4350-A6C8-DCE7C2CB10A7}" dt="2024-11-11T01:00:46.900" v="2388" actId="167"/>
        <pc:sldMkLst>
          <pc:docMk/>
          <pc:sldMk cId="1032254226" sldId="2134806501"/>
        </pc:sldMkLst>
        <pc:spChg chg="mod">
          <ac:chgData name="Mohamed Ibissi" userId="90b6f8706c8cb808" providerId="LiveId" clId="{0A7FBB52-A209-4350-A6C8-DCE7C2CB10A7}" dt="2024-11-10T13:25:41.536" v="508" actId="20577"/>
          <ac:spMkLst>
            <pc:docMk/>
            <pc:sldMk cId="1032254226" sldId="2134806501"/>
            <ac:spMk id="3" creationId="{BFCF3DDC-A255-19B1-200E-3EFA255311D4}"/>
          </ac:spMkLst>
        </pc:spChg>
        <pc:spChg chg="mod">
          <ac:chgData name="Mohamed Ibissi" userId="90b6f8706c8cb808" providerId="LiveId" clId="{0A7FBB52-A209-4350-A6C8-DCE7C2CB10A7}" dt="2024-11-10T13:25:49.450" v="509" actId="20577"/>
          <ac:spMkLst>
            <pc:docMk/>
            <pc:sldMk cId="1032254226" sldId="2134806501"/>
            <ac:spMk id="11" creationId="{A0E4A145-6CD6-3CF1-EE3F-D9A61EAB9B81}"/>
          </ac:spMkLst>
        </pc:spChg>
        <pc:graphicFrameChg chg="del">
          <ac:chgData name="Mohamed Ibissi" userId="90b6f8706c8cb808" providerId="LiveId" clId="{0A7FBB52-A209-4350-A6C8-DCE7C2CB10A7}" dt="2024-11-11T01:00:42.086" v="2386" actId="478"/>
          <ac:graphicFrameMkLst>
            <pc:docMk/>
            <pc:sldMk cId="1032254226" sldId="2134806501"/>
            <ac:graphicFrameMk id="4" creationId="{BF82101C-878C-22DD-F1DC-6544E3FC7352}"/>
          </ac:graphicFrameMkLst>
        </pc:graphicFrameChg>
        <pc:picChg chg="del">
          <ac:chgData name="Mohamed Ibissi" userId="90b6f8706c8cb808" providerId="LiveId" clId="{0A7FBB52-A209-4350-A6C8-DCE7C2CB10A7}" dt="2024-11-10T13:25:09.650" v="482" actId="478"/>
          <ac:picMkLst>
            <pc:docMk/>
            <pc:sldMk cId="1032254226" sldId="2134806501"/>
            <ac:picMk id="2" creationId="{45C38522-7E4C-1B77-A315-33C44F4C7570}"/>
          </ac:picMkLst>
        </pc:picChg>
        <pc:picChg chg="add mod ord">
          <ac:chgData name="Mohamed Ibissi" userId="90b6f8706c8cb808" providerId="LiveId" clId="{0A7FBB52-A209-4350-A6C8-DCE7C2CB10A7}" dt="2024-11-11T01:00:46.900" v="2388" actId="167"/>
          <ac:picMkLst>
            <pc:docMk/>
            <pc:sldMk cId="1032254226" sldId="2134806501"/>
            <ac:picMk id="2" creationId="{64B6E0A7-5712-A626-2B70-AB6CAE5FA8DE}"/>
          </ac:picMkLst>
        </pc:picChg>
        <pc:picChg chg="add mod">
          <ac:chgData name="Mohamed Ibissi" userId="90b6f8706c8cb808" providerId="LiveId" clId="{0A7FBB52-A209-4350-A6C8-DCE7C2CB10A7}" dt="2024-11-10T13:25:20.924" v="487" actId="1076"/>
          <ac:picMkLst>
            <pc:docMk/>
            <pc:sldMk cId="1032254226" sldId="2134806501"/>
            <ac:picMk id="7" creationId="{7478584F-F9F4-21EE-6E8B-F35D59E76DF3}"/>
          </ac:picMkLst>
        </pc:picChg>
        <pc:picChg chg="del">
          <ac:chgData name="Mohamed Ibissi" userId="90b6f8706c8cb808" providerId="LiveId" clId="{0A7FBB52-A209-4350-A6C8-DCE7C2CB10A7}" dt="2024-11-10T13:25:08.071" v="481" actId="478"/>
          <ac:picMkLst>
            <pc:docMk/>
            <pc:sldMk cId="1032254226" sldId="2134806501"/>
            <ac:picMk id="8" creationId="{3507B772-B48D-EC60-C9F3-EAAB9C370D60}"/>
          </ac:picMkLst>
        </pc:picChg>
        <pc:picChg chg="del">
          <ac:chgData name="Mohamed Ibissi" userId="90b6f8706c8cb808" providerId="LiveId" clId="{0A7FBB52-A209-4350-A6C8-DCE7C2CB10A7}" dt="2024-11-10T13:25:11.277" v="483" actId="478"/>
          <ac:picMkLst>
            <pc:docMk/>
            <pc:sldMk cId="1032254226" sldId="2134806501"/>
            <ac:picMk id="9" creationId="{80B81CF9-2FC2-962E-FAC5-9A14ED2CEBA3}"/>
          </ac:picMkLst>
        </pc:picChg>
      </pc:sldChg>
      <pc:sldChg chg="addSp delSp modSp mod">
        <pc:chgData name="Mohamed Ibissi" userId="90b6f8706c8cb808" providerId="LiveId" clId="{0A7FBB52-A209-4350-A6C8-DCE7C2CB10A7}" dt="2024-11-11T01:06:56.064" v="2457" actId="167"/>
        <pc:sldMkLst>
          <pc:docMk/>
          <pc:sldMk cId="3343618189" sldId="2134806533"/>
        </pc:sldMkLst>
        <pc:spChg chg="mod">
          <ac:chgData name="Mohamed Ibissi" userId="90b6f8706c8cb808" providerId="LiveId" clId="{0A7FBB52-A209-4350-A6C8-DCE7C2CB10A7}" dt="2024-11-10T14:35:10.103" v="896" actId="20577"/>
          <ac:spMkLst>
            <pc:docMk/>
            <pc:sldMk cId="3343618189" sldId="2134806533"/>
            <ac:spMk id="3" creationId="{EF66B6B0-CCAB-0514-A03D-26E48FE2740E}"/>
          </ac:spMkLst>
        </pc:spChg>
        <pc:spChg chg="add del mod">
          <ac:chgData name="Mohamed Ibissi" userId="90b6f8706c8cb808" providerId="LiveId" clId="{0A7FBB52-A209-4350-A6C8-DCE7C2CB10A7}" dt="2024-11-10T14:50:02.082" v="901" actId="21"/>
          <ac:spMkLst>
            <pc:docMk/>
            <pc:sldMk cId="3343618189" sldId="2134806533"/>
            <ac:spMk id="6" creationId="{48DEB9AB-589C-3C5B-6EEC-D2297666CAC5}"/>
          </ac:spMkLst>
        </pc:spChg>
        <pc:spChg chg="mod">
          <ac:chgData name="Mohamed Ibissi" userId="90b6f8706c8cb808" providerId="LiveId" clId="{0A7FBB52-A209-4350-A6C8-DCE7C2CB10A7}" dt="2024-11-10T14:34:57.095" v="894" actId="14100"/>
          <ac:spMkLst>
            <pc:docMk/>
            <pc:sldMk cId="3343618189" sldId="2134806533"/>
            <ac:spMk id="7" creationId="{5063B56D-B148-75EE-78E4-DC84FA9715BF}"/>
          </ac:spMkLst>
        </pc:spChg>
        <pc:spChg chg="mod">
          <ac:chgData name="Mohamed Ibissi" userId="90b6f8706c8cb808" providerId="LiveId" clId="{0A7FBB52-A209-4350-A6C8-DCE7C2CB10A7}" dt="2024-11-10T14:56:54.576" v="1062" actId="1076"/>
          <ac:spMkLst>
            <pc:docMk/>
            <pc:sldMk cId="3343618189" sldId="2134806533"/>
            <ac:spMk id="10" creationId="{8E6E2A29-55C4-93ED-ED2C-2D1E65E2B036}"/>
          </ac:spMkLst>
        </pc:spChg>
        <pc:graphicFrameChg chg="del">
          <ac:chgData name="Mohamed Ibissi" userId="90b6f8706c8cb808" providerId="LiveId" clId="{0A7FBB52-A209-4350-A6C8-DCE7C2CB10A7}" dt="2024-11-11T01:06:52.450" v="2455" actId="478"/>
          <ac:graphicFrameMkLst>
            <pc:docMk/>
            <pc:sldMk cId="3343618189" sldId="2134806533"/>
            <ac:graphicFrameMk id="4" creationId="{3BA633F2-D363-BC83-6BDC-FA538BC9AD59}"/>
          </ac:graphicFrameMkLst>
        </pc:graphicFrameChg>
        <pc:picChg chg="mod">
          <ac:chgData name="Mohamed Ibissi" userId="90b6f8706c8cb808" providerId="LiveId" clId="{0A7FBB52-A209-4350-A6C8-DCE7C2CB10A7}" dt="2024-11-10T14:34:46.608" v="891" actId="14826"/>
          <ac:picMkLst>
            <pc:docMk/>
            <pc:sldMk cId="3343618189" sldId="2134806533"/>
            <ac:picMk id="2" creationId="{4CA116C9-2E29-2537-FEC4-80BA5D1102B0}"/>
          </ac:picMkLst>
        </pc:picChg>
        <pc:picChg chg="add mod ord">
          <ac:chgData name="Mohamed Ibissi" userId="90b6f8706c8cb808" providerId="LiveId" clId="{0A7FBB52-A209-4350-A6C8-DCE7C2CB10A7}" dt="2024-11-11T01:06:56.064" v="2457" actId="167"/>
          <ac:picMkLst>
            <pc:docMk/>
            <pc:sldMk cId="3343618189" sldId="2134806533"/>
            <ac:picMk id="6" creationId="{64CCDC9B-55DA-618E-53C4-D507DC929EAA}"/>
          </ac:picMkLst>
        </pc:picChg>
      </pc:sldChg>
      <pc:sldChg chg="addSp delSp modSp mod">
        <pc:chgData name="Mohamed Ibissi" userId="90b6f8706c8cb808" providerId="LiveId" clId="{0A7FBB52-A209-4350-A6C8-DCE7C2CB10A7}" dt="2024-11-11T01:09:19.114" v="2482" actId="14100"/>
        <pc:sldMkLst>
          <pc:docMk/>
          <pc:sldMk cId="3949016510" sldId="2134806540"/>
        </pc:sldMkLst>
        <pc:spChg chg="mod">
          <ac:chgData name="Mohamed Ibissi" userId="90b6f8706c8cb808" providerId="LiveId" clId="{0A7FBB52-A209-4350-A6C8-DCE7C2CB10A7}" dt="2024-11-10T15:26:48.636" v="1145" actId="20577"/>
          <ac:spMkLst>
            <pc:docMk/>
            <pc:sldMk cId="3949016510" sldId="2134806540"/>
            <ac:spMk id="8" creationId="{29AD50D3-BAEC-8652-8A88-F347A09E6F0A}"/>
          </ac:spMkLst>
        </pc:spChg>
        <pc:spChg chg="mod">
          <ac:chgData name="Mohamed Ibissi" userId="90b6f8706c8cb808" providerId="LiveId" clId="{0A7FBB52-A209-4350-A6C8-DCE7C2CB10A7}" dt="2024-11-10T15:26:27.447" v="1120" actId="1076"/>
          <ac:spMkLst>
            <pc:docMk/>
            <pc:sldMk cId="3949016510" sldId="2134806540"/>
            <ac:spMk id="9" creationId="{B966FAB3-A5BD-496F-B206-A7DDD74F1746}"/>
          </ac:spMkLst>
        </pc:spChg>
        <pc:spChg chg="mod">
          <ac:chgData name="Mohamed Ibissi" userId="90b6f8706c8cb808" providerId="LiveId" clId="{0A7FBB52-A209-4350-A6C8-DCE7C2CB10A7}" dt="2024-11-10T15:26:32.014" v="1121" actId="1076"/>
          <ac:spMkLst>
            <pc:docMk/>
            <pc:sldMk cId="3949016510" sldId="2134806540"/>
            <ac:spMk id="10" creationId="{630EBFFF-6035-087D-C3A0-DF7BB17CD488}"/>
          </ac:spMkLst>
        </pc:spChg>
        <pc:graphicFrameChg chg="del">
          <ac:chgData name="Mohamed Ibissi" userId="90b6f8706c8cb808" providerId="LiveId" clId="{0A7FBB52-A209-4350-A6C8-DCE7C2CB10A7}" dt="2024-11-11T01:09:01.005" v="2478" actId="478"/>
          <ac:graphicFrameMkLst>
            <pc:docMk/>
            <pc:sldMk cId="3949016510" sldId="2134806540"/>
            <ac:graphicFrameMk id="4" creationId="{D42DC917-0BB9-5D0D-FA87-CC183C48B419}"/>
          </ac:graphicFrameMkLst>
        </pc:graphicFrameChg>
        <pc:picChg chg="add mod ord">
          <ac:chgData name="Mohamed Ibissi" userId="90b6f8706c8cb808" providerId="LiveId" clId="{0A7FBB52-A209-4350-A6C8-DCE7C2CB10A7}" dt="2024-11-11T01:09:07.197" v="2480" actId="167"/>
          <ac:picMkLst>
            <pc:docMk/>
            <pc:sldMk cId="3949016510" sldId="2134806540"/>
            <ac:picMk id="2" creationId="{C9DBAA36-8652-04C7-72ED-78C2789B1AD7}"/>
          </ac:picMkLst>
        </pc:picChg>
        <pc:picChg chg="mod">
          <ac:chgData name="Mohamed Ibissi" userId="90b6f8706c8cb808" providerId="LiveId" clId="{0A7FBB52-A209-4350-A6C8-DCE7C2CB10A7}" dt="2024-11-11T01:09:19.114" v="2482" actId="14100"/>
          <ac:picMkLst>
            <pc:docMk/>
            <pc:sldMk cId="3949016510" sldId="2134806540"/>
            <ac:picMk id="5" creationId="{05B0492E-78D1-B28F-E074-F1C0360E3957}"/>
          </ac:picMkLst>
        </pc:picChg>
      </pc:sldChg>
      <pc:sldChg chg="del ord">
        <pc:chgData name="Mohamed Ibissi" userId="90b6f8706c8cb808" providerId="LiveId" clId="{0A7FBB52-A209-4350-A6C8-DCE7C2CB10A7}" dt="2024-11-10T23:37:53.433" v="1901" actId="47"/>
        <pc:sldMkLst>
          <pc:docMk/>
          <pc:sldMk cId="1326812117" sldId="2134806543"/>
        </pc:sldMkLst>
      </pc:sldChg>
      <pc:sldChg chg="addSp delSp modSp mod">
        <pc:chgData name="Mohamed Ibissi" userId="90b6f8706c8cb808" providerId="LiveId" clId="{0A7FBB52-A209-4350-A6C8-DCE7C2CB10A7}" dt="2024-11-11T01:11:38.926" v="2519" actId="167"/>
        <pc:sldMkLst>
          <pc:docMk/>
          <pc:sldMk cId="398417903" sldId="2134806545"/>
        </pc:sldMkLst>
        <pc:graphicFrameChg chg="del">
          <ac:chgData name="Mohamed Ibissi" userId="90b6f8706c8cb808" providerId="LiveId" clId="{0A7FBB52-A209-4350-A6C8-DCE7C2CB10A7}" dt="2024-11-11T01:11:34.564" v="2517" actId="478"/>
          <ac:graphicFrameMkLst>
            <pc:docMk/>
            <pc:sldMk cId="398417903" sldId="2134806545"/>
            <ac:graphicFrameMk id="4" creationId="{4F2A3BA7-FE67-6FED-2E0F-4C09704BD840}"/>
          </ac:graphicFrameMkLst>
        </pc:graphicFrameChg>
        <pc:picChg chg="add mod ord">
          <ac:chgData name="Mohamed Ibissi" userId="90b6f8706c8cb808" providerId="LiveId" clId="{0A7FBB52-A209-4350-A6C8-DCE7C2CB10A7}" dt="2024-11-11T01:11:38.926" v="2519" actId="167"/>
          <ac:picMkLst>
            <pc:docMk/>
            <pc:sldMk cId="398417903" sldId="2134806545"/>
            <ac:picMk id="5" creationId="{E99BC8D8-5C9D-1B83-7A98-7035537576CF}"/>
          </ac:picMkLst>
        </pc:picChg>
      </pc:sldChg>
      <pc:sldChg chg="addSp delSp modSp mod modAnim">
        <pc:chgData name="Mohamed Ibissi" userId="90b6f8706c8cb808" providerId="LiveId" clId="{0A7FBB52-A209-4350-A6C8-DCE7C2CB10A7}" dt="2024-11-11T01:12:04.149" v="2524" actId="14100"/>
        <pc:sldMkLst>
          <pc:docMk/>
          <pc:sldMk cId="3629360349" sldId="2134806546"/>
        </pc:sldMkLst>
        <pc:spChg chg="mod">
          <ac:chgData name="Mohamed Ibissi" userId="90b6f8706c8cb808" providerId="LiveId" clId="{0A7FBB52-A209-4350-A6C8-DCE7C2CB10A7}" dt="2024-11-10T16:11:07.405" v="1299" actId="1035"/>
          <ac:spMkLst>
            <pc:docMk/>
            <pc:sldMk cId="3629360349" sldId="2134806546"/>
            <ac:spMk id="2" creationId="{17D6F43D-C88E-B9DC-BB74-88601C8B0441}"/>
          </ac:spMkLst>
        </pc:spChg>
        <pc:spChg chg="del">
          <ac:chgData name="Mohamed Ibissi" userId="90b6f8706c8cb808" providerId="LiveId" clId="{0A7FBB52-A209-4350-A6C8-DCE7C2CB10A7}" dt="2024-11-10T16:09:46.353" v="1265" actId="478"/>
          <ac:spMkLst>
            <pc:docMk/>
            <pc:sldMk cId="3629360349" sldId="2134806546"/>
            <ac:spMk id="6" creationId="{033D8F56-6BA5-2E3D-9A4C-1D52F884F6C0}"/>
          </ac:spMkLst>
        </pc:spChg>
        <pc:spChg chg="add mod">
          <ac:chgData name="Mohamed Ibissi" userId="90b6f8706c8cb808" providerId="LiveId" clId="{0A7FBB52-A209-4350-A6C8-DCE7C2CB10A7}" dt="2024-11-10T16:10:14.099" v="1266"/>
          <ac:spMkLst>
            <pc:docMk/>
            <pc:sldMk cId="3629360349" sldId="2134806546"/>
            <ac:spMk id="7" creationId="{7E78653F-4032-9BF5-0465-33632D2C7D36}"/>
          </ac:spMkLst>
        </pc:spChg>
        <pc:spChg chg="add mod">
          <ac:chgData name="Mohamed Ibissi" userId="90b6f8706c8cb808" providerId="LiveId" clId="{0A7FBB52-A209-4350-A6C8-DCE7C2CB10A7}" dt="2024-11-10T16:10:14.099" v="1266"/>
          <ac:spMkLst>
            <pc:docMk/>
            <pc:sldMk cId="3629360349" sldId="2134806546"/>
            <ac:spMk id="9" creationId="{EBEC7943-767A-BBCB-CC16-71252DFA88EA}"/>
          </ac:spMkLst>
        </pc:spChg>
        <pc:spChg chg="add mod">
          <ac:chgData name="Mohamed Ibissi" userId="90b6f8706c8cb808" providerId="LiveId" clId="{0A7FBB52-A209-4350-A6C8-DCE7C2CB10A7}" dt="2024-11-10T16:10:14.099" v="1266"/>
          <ac:spMkLst>
            <pc:docMk/>
            <pc:sldMk cId="3629360349" sldId="2134806546"/>
            <ac:spMk id="10" creationId="{E3CFDD87-D01B-20F0-E42F-E8F744073501}"/>
          </ac:spMkLst>
        </pc:spChg>
        <pc:spChg chg="add mod">
          <ac:chgData name="Mohamed Ibissi" userId="90b6f8706c8cb808" providerId="LiveId" clId="{0A7FBB52-A209-4350-A6C8-DCE7C2CB10A7}" dt="2024-11-10T16:10:14.099" v="1266"/>
          <ac:spMkLst>
            <pc:docMk/>
            <pc:sldMk cId="3629360349" sldId="2134806546"/>
            <ac:spMk id="11" creationId="{F37EAEAD-F077-F41A-7572-1F69B9678B96}"/>
          </ac:spMkLst>
        </pc:spChg>
        <pc:spChg chg="add mod">
          <ac:chgData name="Mohamed Ibissi" userId="90b6f8706c8cb808" providerId="LiveId" clId="{0A7FBB52-A209-4350-A6C8-DCE7C2CB10A7}" dt="2024-11-10T16:11:38.033" v="1303" actId="14100"/>
          <ac:spMkLst>
            <pc:docMk/>
            <pc:sldMk cId="3629360349" sldId="2134806546"/>
            <ac:spMk id="12" creationId="{49232292-09B0-DA4E-D2C2-3CA678137570}"/>
          </ac:spMkLst>
        </pc:spChg>
        <pc:spChg chg="add mod">
          <ac:chgData name="Mohamed Ibissi" userId="90b6f8706c8cb808" providerId="LiveId" clId="{0A7FBB52-A209-4350-A6C8-DCE7C2CB10A7}" dt="2024-11-10T16:12:28.833" v="1310"/>
          <ac:spMkLst>
            <pc:docMk/>
            <pc:sldMk cId="3629360349" sldId="2134806546"/>
            <ac:spMk id="14" creationId="{1156BF3E-B41D-64A6-60C1-C065AF92FC7C}"/>
          </ac:spMkLst>
        </pc:spChg>
        <pc:spChg chg="add mod">
          <ac:chgData name="Mohamed Ibissi" userId="90b6f8706c8cb808" providerId="LiveId" clId="{0A7FBB52-A209-4350-A6C8-DCE7C2CB10A7}" dt="2024-11-10T16:12:28.833" v="1310"/>
          <ac:spMkLst>
            <pc:docMk/>
            <pc:sldMk cId="3629360349" sldId="2134806546"/>
            <ac:spMk id="15" creationId="{570BC583-DDA5-366E-9149-A72057025EB6}"/>
          </ac:spMkLst>
        </pc:spChg>
        <pc:spChg chg="add mod">
          <ac:chgData name="Mohamed Ibissi" userId="90b6f8706c8cb808" providerId="LiveId" clId="{0A7FBB52-A209-4350-A6C8-DCE7C2CB10A7}" dt="2024-11-10T16:12:28.833" v="1310"/>
          <ac:spMkLst>
            <pc:docMk/>
            <pc:sldMk cId="3629360349" sldId="2134806546"/>
            <ac:spMk id="16" creationId="{4212900E-1B61-87FB-6F09-5372FBEAD81A}"/>
          </ac:spMkLst>
        </pc:spChg>
        <pc:spChg chg="add mod">
          <ac:chgData name="Mohamed Ibissi" userId="90b6f8706c8cb808" providerId="LiveId" clId="{0A7FBB52-A209-4350-A6C8-DCE7C2CB10A7}" dt="2024-11-10T16:12:28.833" v="1310"/>
          <ac:spMkLst>
            <pc:docMk/>
            <pc:sldMk cId="3629360349" sldId="2134806546"/>
            <ac:spMk id="17" creationId="{3E05617D-2DF0-4167-E21E-84D62DE622AB}"/>
          </ac:spMkLst>
        </pc:spChg>
        <pc:graphicFrameChg chg="del">
          <ac:chgData name="Mohamed Ibissi" userId="90b6f8706c8cb808" providerId="LiveId" clId="{0A7FBB52-A209-4350-A6C8-DCE7C2CB10A7}" dt="2024-11-11T01:11:46.120" v="2520" actId="478"/>
          <ac:graphicFrameMkLst>
            <pc:docMk/>
            <pc:sldMk cId="3629360349" sldId="2134806546"/>
            <ac:graphicFrameMk id="4" creationId="{956614D1-B46B-B9C3-B80F-D31F6E3431F1}"/>
          </ac:graphicFrameMkLst>
        </pc:graphicFrameChg>
        <pc:picChg chg="add mod ord">
          <ac:chgData name="Mohamed Ibissi" userId="90b6f8706c8cb808" providerId="LiveId" clId="{0A7FBB52-A209-4350-A6C8-DCE7C2CB10A7}" dt="2024-11-11T01:11:49.668" v="2522" actId="167"/>
          <ac:picMkLst>
            <pc:docMk/>
            <pc:sldMk cId="3629360349" sldId="2134806546"/>
            <ac:picMk id="3" creationId="{65239F96-D263-946A-9286-8BA119B84398}"/>
          </ac:picMkLst>
        </pc:picChg>
        <pc:picChg chg="del">
          <ac:chgData name="Mohamed Ibissi" userId="90b6f8706c8cb808" providerId="LiveId" clId="{0A7FBB52-A209-4350-A6C8-DCE7C2CB10A7}" dt="2024-11-10T16:09:46.353" v="1265" actId="478"/>
          <ac:picMkLst>
            <pc:docMk/>
            <pc:sldMk cId="3629360349" sldId="2134806546"/>
            <ac:picMk id="3" creationId="{AE5C1610-669D-1E55-E9DE-7F3716253CE8}"/>
          </ac:picMkLst>
        </pc:picChg>
        <pc:picChg chg="add mod">
          <ac:chgData name="Mohamed Ibissi" userId="90b6f8706c8cb808" providerId="LiveId" clId="{0A7FBB52-A209-4350-A6C8-DCE7C2CB10A7}" dt="2024-11-11T01:12:04.149" v="2524" actId="14100"/>
          <ac:picMkLst>
            <pc:docMk/>
            <pc:sldMk cId="3629360349" sldId="2134806546"/>
            <ac:picMk id="5" creationId="{B41E0ECF-7C9D-CA8A-35E6-92C47E238FEB}"/>
          </ac:picMkLst>
        </pc:picChg>
        <pc:picChg chg="add mod">
          <ac:chgData name="Mohamed Ibissi" userId="90b6f8706c8cb808" providerId="LiveId" clId="{0A7FBB52-A209-4350-A6C8-DCE7C2CB10A7}" dt="2024-11-10T16:12:28.833" v="1310"/>
          <ac:picMkLst>
            <pc:docMk/>
            <pc:sldMk cId="3629360349" sldId="2134806546"/>
            <ac:picMk id="13" creationId="{F95A78DA-D20F-FF46-CA43-192677D84E96}"/>
          </ac:picMkLst>
        </pc:picChg>
      </pc:sldChg>
      <pc:sldChg chg="del">
        <pc:chgData name="Mohamed Ibissi" userId="90b6f8706c8cb808" providerId="LiveId" clId="{0A7FBB52-A209-4350-A6C8-DCE7C2CB10A7}" dt="2024-11-10T16:13:38.327" v="1313" actId="47"/>
        <pc:sldMkLst>
          <pc:docMk/>
          <pc:sldMk cId="161347642" sldId="2134806547"/>
        </pc:sldMkLst>
      </pc:sldChg>
      <pc:sldChg chg="addSp delSp modSp mod">
        <pc:chgData name="Mohamed Ibissi" userId="90b6f8706c8cb808" providerId="LiveId" clId="{0A7FBB52-A209-4350-A6C8-DCE7C2CB10A7}" dt="2024-11-11T01:18:36.001" v="2610" actId="167"/>
        <pc:sldMkLst>
          <pc:docMk/>
          <pc:sldMk cId="2171157245" sldId="2134806566"/>
        </pc:sldMkLst>
        <pc:spChg chg="mod">
          <ac:chgData name="Mohamed Ibissi" userId="90b6f8706c8cb808" providerId="LiveId" clId="{0A7FBB52-A209-4350-A6C8-DCE7C2CB10A7}" dt="2024-11-11T00:13:51.165" v="2151" actId="20577"/>
          <ac:spMkLst>
            <pc:docMk/>
            <pc:sldMk cId="2171157245" sldId="2134806566"/>
            <ac:spMk id="2" creationId="{F284B9EE-D8C4-D02F-871E-E0A883102065}"/>
          </ac:spMkLst>
        </pc:spChg>
        <pc:spChg chg="mod">
          <ac:chgData name="Mohamed Ibissi" userId="90b6f8706c8cb808" providerId="LiveId" clId="{0A7FBB52-A209-4350-A6C8-DCE7C2CB10A7}" dt="2024-11-11T00:13:34.545" v="2147" actId="1038"/>
          <ac:spMkLst>
            <pc:docMk/>
            <pc:sldMk cId="2171157245" sldId="2134806566"/>
            <ac:spMk id="7" creationId="{927ED750-B791-7E14-7906-DD6E189C5C93}"/>
          </ac:spMkLst>
        </pc:spChg>
        <pc:graphicFrameChg chg="del">
          <ac:chgData name="Mohamed Ibissi" userId="90b6f8706c8cb808" providerId="LiveId" clId="{0A7FBB52-A209-4350-A6C8-DCE7C2CB10A7}" dt="2024-11-11T01:18:32.922" v="2608" actId="478"/>
          <ac:graphicFrameMkLst>
            <pc:docMk/>
            <pc:sldMk cId="2171157245" sldId="2134806566"/>
            <ac:graphicFrameMk id="3" creationId="{C9B0A731-4B20-7CF5-56BE-65AA1EB9E89C}"/>
          </ac:graphicFrameMkLst>
        </pc:graphicFrameChg>
        <pc:picChg chg="del">
          <ac:chgData name="Mohamed Ibissi" userId="90b6f8706c8cb808" providerId="LiveId" clId="{0A7FBB52-A209-4350-A6C8-DCE7C2CB10A7}" dt="2024-11-11T00:12:31.674" v="2135" actId="478"/>
          <ac:picMkLst>
            <pc:docMk/>
            <pc:sldMk cId="2171157245" sldId="2134806566"/>
            <ac:picMk id="4" creationId="{81AF23C9-4423-F888-5375-43F70C76A0CB}"/>
          </ac:picMkLst>
        </pc:picChg>
        <pc:picChg chg="add mod">
          <ac:chgData name="Mohamed Ibissi" userId="90b6f8706c8cb808" providerId="LiveId" clId="{0A7FBB52-A209-4350-A6C8-DCE7C2CB10A7}" dt="2024-11-11T00:13:13.514" v="2140" actId="1076"/>
          <ac:picMkLst>
            <pc:docMk/>
            <pc:sldMk cId="2171157245" sldId="2134806566"/>
            <ac:picMk id="6" creationId="{5A4E2AAA-6418-2662-2070-4A99533AA2F8}"/>
          </ac:picMkLst>
        </pc:picChg>
        <pc:picChg chg="add mod ord">
          <ac:chgData name="Mohamed Ibissi" userId="90b6f8706c8cb808" providerId="LiveId" clId="{0A7FBB52-A209-4350-A6C8-DCE7C2CB10A7}" dt="2024-11-11T01:18:36.001" v="2610" actId="167"/>
          <ac:picMkLst>
            <pc:docMk/>
            <pc:sldMk cId="2171157245" sldId="2134806566"/>
            <ac:picMk id="8" creationId="{A546F5C2-9474-4F54-FA8F-91372EE9EDBD}"/>
          </ac:picMkLst>
        </pc:picChg>
      </pc:sldChg>
      <pc:sldChg chg="addSp delSp modSp mod modAnim">
        <pc:chgData name="Mohamed Ibissi" userId="90b6f8706c8cb808" providerId="LiveId" clId="{0A7FBB52-A209-4350-A6C8-DCE7C2CB10A7}" dt="2024-11-11T01:18:48.091" v="2613" actId="167"/>
        <pc:sldMkLst>
          <pc:docMk/>
          <pc:sldMk cId="1042453530" sldId="2134806567"/>
        </pc:sldMkLst>
        <pc:spChg chg="add mod">
          <ac:chgData name="Mohamed Ibissi" userId="90b6f8706c8cb808" providerId="LiveId" clId="{0A7FBB52-A209-4350-A6C8-DCE7C2CB10A7}" dt="2024-11-11T00:14:17.982" v="2154"/>
          <ac:spMkLst>
            <pc:docMk/>
            <pc:sldMk cId="1042453530" sldId="2134806567"/>
            <ac:spMk id="2" creationId="{F48DF0DC-D637-C218-9F66-D285E98E1D0A}"/>
          </ac:spMkLst>
        </pc:spChg>
        <pc:spChg chg="mod ord">
          <ac:chgData name="Mohamed Ibissi" userId="90b6f8706c8cb808" providerId="LiveId" clId="{0A7FBB52-A209-4350-A6C8-DCE7C2CB10A7}" dt="2024-11-11T00:16:56.544" v="2180" actId="1036"/>
          <ac:spMkLst>
            <pc:docMk/>
            <pc:sldMk cId="1042453530" sldId="2134806567"/>
            <ac:spMk id="5" creationId="{D733C5F9-AE0D-C779-CF3F-127CF035EE8B}"/>
          </ac:spMkLst>
        </pc:spChg>
        <pc:spChg chg="mod ord">
          <ac:chgData name="Mohamed Ibissi" userId="90b6f8706c8cb808" providerId="LiveId" clId="{0A7FBB52-A209-4350-A6C8-DCE7C2CB10A7}" dt="2024-11-11T00:18:02.036" v="2202" actId="207"/>
          <ac:spMkLst>
            <pc:docMk/>
            <pc:sldMk cId="1042453530" sldId="2134806567"/>
            <ac:spMk id="6" creationId="{B3C449A7-FAC1-625E-27FD-205F8DC8578E}"/>
          </ac:spMkLst>
        </pc:spChg>
        <pc:spChg chg="mod ord">
          <ac:chgData name="Mohamed Ibissi" userId="90b6f8706c8cb808" providerId="LiveId" clId="{0A7FBB52-A209-4350-A6C8-DCE7C2CB10A7}" dt="2024-11-11T00:16:56.544" v="2180" actId="1036"/>
          <ac:spMkLst>
            <pc:docMk/>
            <pc:sldMk cId="1042453530" sldId="2134806567"/>
            <ac:spMk id="7" creationId="{B4D4CD6D-B2FA-E685-3889-A3AABEB84897}"/>
          </ac:spMkLst>
        </pc:spChg>
        <pc:spChg chg="mod ord">
          <ac:chgData name="Mohamed Ibissi" userId="90b6f8706c8cb808" providerId="LiveId" clId="{0A7FBB52-A209-4350-A6C8-DCE7C2CB10A7}" dt="2024-11-11T00:17:10.509" v="2198" actId="1038"/>
          <ac:spMkLst>
            <pc:docMk/>
            <pc:sldMk cId="1042453530" sldId="2134806567"/>
            <ac:spMk id="8" creationId="{232BB56E-E629-36BC-3989-D4BD8CC66214}"/>
          </ac:spMkLst>
        </pc:spChg>
        <pc:spChg chg="add mod">
          <ac:chgData name="Mohamed Ibissi" userId="90b6f8706c8cb808" providerId="LiveId" clId="{0A7FBB52-A209-4350-A6C8-DCE7C2CB10A7}" dt="2024-11-11T00:17:10.509" v="2198" actId="1038"/>
          <ac:spMkLst>
            <pc:docMk/>
            <pc:sldMk cId="1042453530" sldId="2134806567"/>
            <ac:spMk id="10" creationId="{66B05D99-0738-D94B-A5A1-60C4655F52A0}"/>
          </ac:spMkLst>
        </pc:spChg>
        <pc:spChg chg="add mod">
          <ac:chgData name="Mohamed Ibissi" userId="90b6f8706c8cb808" providerId="LiveId" clId="{0A7FBB52-A209-4350-A6C8-DCE7C2CB10A7}" dt="2024-11-11T00:18:02.036" v="2202" actId="207"/>
          <ac:spMkLst>
            <pc:docMk/>
            <pc:sldMk cId="1042453530" sldId="2134806567"/>
            <ac:spMk id="11" creationId="{6313E1E2-1072-5A39-79BC-1E6F81B551DF}"/>
          </ac:spMkLst>
        </pc:spChg>
        <pc:spChg chg="add mod">
          <ac:chgData name="Mohamed Ibissi" userId="90b6f8706c8cb808" providerId="LiveId" clId="{0A7FBB52-A209-4350-A6C8-DCE7C2CB10A7}" dt="2024-11-11T00:16:56.544" v="2180" actId="1036"/>
          <ac:spMkLst>
            <pc:docMk/>
            <pc:sldMk cId="1042453530" sldId="2134806567"/>
            <ac:spMk id="12" creationId="{A0471BEF-1FAF-D3AC-0B2A-290573AD96D6}"/>
          </ac:spMkLst>
        </pc:spChg>
        <pc:spChg chg="mod ord">
          <ac:chgData name="Mohamed Ibissi" userId="90b6f8706c8cb808" providerId="LiveId" clId="{0A7FBB52-A209-4350-A6C8-DCE7C2CB10A7}" dt="2024-11-11T00:17:10.509" v="2198" actId="1038"/>
          <ac:spMkLst>
            <pc:docMk/>
            <pc:sldMk cId="1042453530" sldId="2134806567"/>
            <ac:spMk id="14" creationId="{627679A2-4497-E06E-DDE0-8B96EF1921B5}"/>
          </ac:spMkLst>
        </pc:spChg>
        <pc:spChg chg="mod ord">
          <ac:chgData name="Mohamed Ibissi" userId="90b6f8706c8cb808" providerId="LiveId" clId="{0A7FBB52-A209-4350-A6C8-DCE7C2CB10A7}" dt="2024-11-11T00:17:10.509" v="2198" actId="1038"/>
          <ac:spMkLst>
            <pc:docMk/>
            <pc:sldMk cId="1042453530" sldId="2134806567"/>
            <ac:spMk id="16" creationId="{C0282DFC-2841-A3AE-866E-5532D55F7A6E}"/>
          </ac:spMkLst>
        </pc:spChg>
        <pc:spChg chg="add mod">
          <ac:chgData name="Mohamed Ibissi" userId="90b6f8706c8cb808" providerId="LiveId" clId="{0A7FBB52-A209-4350-A6C8-DCE7C2CB10A7}" dt="2024-11-11T00:17:22.326" v="2200" actId="1076"/>
          <ac:spMkLst>
            <pc:docMk/>
            <pc:sldMk cId="1042453530" sldId="2134806567"/>
            <ac:spMk id="17" creationId="{EBA28906-7C07-FC85-82E5-85986CB27267}"/>
          </ac:spMkLst>
        </pc:spChg>
        <pc:spChg chg="add mod">
          <ac:chgData name="Mohamed Ibissi" userId="90b6f8706c8cb808" providerId="LiveId" clId="{0A7FBB52-A209-4350-A6C8-DCE7C2CB10A7}" dt="2024-11-11T00:17:22.326" v="2200" actId="1076"/>
          <ac:spMkLst>
            <pc:docMk/>
            <pc:sldMk cId="1042453530" sldId="2134806567"/>
            <ac:spMk id="18" creationId="{DC61F77E-A61F-8DD4-57E9-86963C6160B5}"/>
          </ac:spMkLst>
        </pc:spChg>
        <pc:spChg chg="add mod">
          <ac:chgData name="Mohamed Ibissi" userId="90b6f8706c8cb808" providerId="LiveId" clId="{0A7FBB52-A209-4350-A6C8-DCE7C2CB10A7}" dt="2024-11-11T00:18:16.481" v="2204" actId="207"/>
          <ac:spMkLst>
            <pc:docMk/>
            <pc:sldMk cId="1042453530" sldId="2134806567"/>
            <ac:spMk id="19" creationId="{17120F87-E88C-5D9B-D864-B780F83FD7AA}"/>
          </ac:spMkLst>
        </pc:spChg>
        <pc:spChg chg="add mod">
          <ac:chgData name="Mohamed Ibissi" userId="90b6f8706c8cb808" providerId="LiveId" clId="{0A7FBB52-A209-4350-A6C8-DCE7C2CB10A7}" dt="2024-11-11T00:18:11.415" v="2203" actId="207"/>
          <ac:spMkLst>
            <pc:docMk/>
            <pc:sldMk cId="1042453530" sldId="2134806567"/>
            <ac:spMk id="20" creationId="{CF4BF52E-DE9D-1B58-09E2-281BC5431EA2}"/>
          </ac:spMkLst>
        </pc:spChg>
        <pc:spChg chg="add mod">
          <ac:chgData name="Mohamed Ibissi" userId="90b6f8706c8cb808" providerId="LiveId" clId="{0A7FBB52-A209-4350-A6C8-DCE7C2CB10A7}" dt="2024-11-11T00:17:22.326" v="2200" actId="1076"/>
          <ac:spMkLst>
            <pc:docMk/>
            <pc:sldMk cId="1042453530" sldId="2134806567"/>
            <ac:spMk id="21" creationId="{3C4D896D-3AA4-81AF-F47C-4DF5C3AFC061}"/>
          </ac:spMkLst>
        </pc:spChg>
        <pc:graphicFrameChg chg="del">
          <ac:chgData name="Mohamed Ibissi" userId="90b6f8706c8cb808" providerId="LiveId" clId="{0A7FBB52-A209-4350-A6C8-DCE7C2CB10A7}" dt="2024-11-11T01:18:44.929" v="2611" actId="478"/>
          <ac:graphicFrameMkLst>
            <pc:docMk/>
            <pc:sldMk cId="1042453530" sldId="2134806567"/>
            <ac:graphicFrameMk id="3" creationId="{44552325-67C4-67C5-A4B1-151E0585346E}"/>
          </ac:graphicFrameMkLst>
        </pc:graphicFrameChg>
        <pc:picChg chg="del">
          <ac:chgData name="Mohamed Ibissi" userId="90b6f8706c8cb808" providerId="LiveId" clId="{0A7FBB52-A209-4350-A6C8-DCE7C2CB10A7}" dt="2024-11-11T00:14:00.014" v="2152" actId="478"/>
          <ac:picMkLst>
            <pc:docMk/>
            <pc:sldMk cId="1042453530" sldId="2134806567"/>
            <ac:picMk id="4" creationId="{D59B0DDA-0862-5BBC-B6A7-55CC932D14BE}"/>
          </ac:picMkLst>
        </pc:picChg>
        <pc:picChg chg="add mod">
          <ac:chgData name="Mohamed Ibissi" userId="90b6f8706c8cb808" providerId="LiveId" clId="{0A7FBB52-A209-4350-A6C8-DCE7C2CB10A7}" dt="2024-11-11T00:14:17.982" v="2154"/>
          <ac:picMkLst>
            <pc:docMk/>
            <pc:sldMk cId="1042453530" sldId="2134806567"/>
            <ac:picMk id="9" creationId="{2CBEE085-0970-7C82-69ED-61A2B32ADEB7}"/>
          </ac:picMkLst>
        </pc:picChg>
        <pc:picChg chg="add mod ord">
          <ac:chgData name="Mohamed Ibissi" userId="90b6f8706c8cb808" providerId="LiveId" clId="{0A7FBB52-A209-4350-A6C8-DCE7C2CB10A7}" dt="2024-11-11T01:18:48.091" v="2613" actId="167"/>
          <ac:picMkLst>
            <pc:docMk/>
            <pc:sldMk cId="1042453530" sldId="2134806567"/>
            <ac:picMk id="22" creationId="{9CDCEE7B-74FD-88CC-1774-A3C2E71D84FA}"/>
          </ac:picMkLst>
        </pc:picChg>
      </pc:sldChg>
      <pc:sldChg chg="del">
        <pc:chgData name="Mohamed Ibissi" userId="90b6f8706c8cb808" providerId="LiveId" clId="{0A7FBB52-A209-4350-A6C8-DCE7C2CB10A7}" dt="2024-11-10T23:42:40.857" v="1997" actId="47"/>
        <pc:sldMkLst>
          <pc:docMk/>
          <pc:sldMk cId="206583747" sldId="2134806568"/>
        </pc:sldMkLst>
      </pc:sldChg>
      <pc:sldChg chg="del">
        <pc:chgData name="Mohamed Ibissi" userId="90b6f8706c8cb808" providerId="LiveId" clId="{0A7FBB52-A209-4350-A6C8-DCE7C2CB10A7}" dt="2024-11-10T23:42:41.733" v="1998" actId="47"/>
        <pc:sldMkLst>
          <pc:docMk/>
          <pc:sldMk cId="1015862555" sldId="2134806569"/>
        </pc:sldMkLst>
      </pc:sldChg>
      <pc:sldChg chg="addSp delSp modSp mod">
        <pc:chgData name="Mohamed Ibissi" userId="90b6f8706c8cb808" providerId="LiveId" clId="{0A7FBB52-A209-4350-A6C8-DCE7C2CB10A7}" dt="2024-11-11T00:53:51.037" v="2310" actId="167"/>
        <pc:sldMkLst>
          <pc:docMk/>
          <pc:sldMk cId="3639806654" sldId="2134806570"/>
        </pc:sldMkLst>
        <pc:graphicFrameChg chg="del">
          <ac:chgData name="Mohamed Ibissi" userId="90b6f8706c8cb808" providerId="LiveId" clId="{0A7FBB52-A209-4350-A6C8-DCE7C2CB10A7}" dt="2024-11-11T00:53:30.182" v="2308" actId="478"/>
          <ac:graphicFrameMkLst>
            <pc:docMk/>
            <pc:sldMk cId="3639806654" sldId="2134806570"/>
            <ac:graphicFrameMk id="4" creationId="{06001130-C84B-E05F-F46C-556C0E0ED0E4}"/>
          </ac:graphicFrameMkLst>
        </pc:graphicFrameChg>
        <pc:picChg chg="add mod ord">
          <ac:chgData name="Mohamed Ibissi" userId="90b6f8706c8cb808" providerId="LiveId" clId="{0A7FBB52-A209-4350-A6C8-DCE7C2CB10A7}" dt="2024-11-11T00:53:51.037" v="2310" actId="167"/>
          <ac:picMkLst>
            <pc:docMk/>
            <pc:sldMk cId="3639806654" sldId="2134806570"/>
            <ac:picMk id="2" creationId="{B70DDBFB-155C-9D63-6B11-10C4544C4126}"/>
          </ac:picMkLst>
        </pc:picChg>
      </pc:sldChg>
      <pc:sldChg chg="addSp delSp modSp mod modAnim">
        <pc:chgData name="Mohamed Ibissi" userId="90b6f8706c8cb808" providerId="LiveId" clId="{0A7FBB52-A209-4350-A6C8-DCE7C2CB10A7}" dt="2024-11-11T00:55:21.032" v="2324" actId="1076"/>
        <pc:sldMkLst>
          <pc:docMk/>
          <pc:sldMk cId="1099202900" sldId="2134806571"/>
        </pc:sldMkLst>
        <pc:spChg chg="mod">
          <ac:chgData name="Mohamed Ibissi" userId="90b6f8706c8cb808" providerId="LiveId" clId="{0A7FBB52-A209-4350-A6C8-DCE7C2CB10A7}" dt="2024-11-10T03:34:17.125" v="100" actId="20577"/>
          <ac:spMkLst>
            <pc:docMk/>
            <pc:sldMk cId="1099202900" sldId="2134806571"/>
            <ac:spMk id="3" creationId="{08C516E1-1BDC-1003-8590-5891D20CAF0F}"/>
          </ac:spMkLst>
        </pc:spChg>
        <pc:spChg chg="del">
          <ac:chgData name="Mohamed Ibissi" userId="90b6f8706c8cb808" providerId="LiveId" clId="{0A7FBB52-A209-4350-A6C8-DCE7C2CB10A7}" dt="2024-11-10T03:34:21.474" v="102" actId="478"/>
          <ac:spMkLst>
            <pc:docMk/>
            <pc:sldMk cId="1099202900" sldId="2134806571"/>
            <ac:spMk id="7" creationId="{50E1BD69-D5AD-D7B7-0695-672EE720C157}"/>
          </ac:spMkLst>
        </pc:spChg>
        <pc:spChg chg="add mod">
          <ac:chgData name="Mohamed Ibissi" userId="90b6f8706c8cb808" providerId="LiveId" clId="{0A7FBB52-A209-4350-A6C8-DCE7C2CB10A7}" dt="2024-11-10T03:34:49.301" v="104" actId="1076"/>
          <ac:spMkLst>
            <pc:docMk/>
            <pc:sldMk cId="1099202900" sldId="2134806571"/>
            <ac:spMk id="8" creationId="{9A7D8EC3-7722-9F6A-DE33-945E7D1AE65D}"/>
          </ac:spMkLst>
        </pc:spChg>
        <pc:spChg chg="add mod">
          <ac:chgData name="Mohamed Ibissi" userId="90b6f8706c8cb808" providerId="LiveId" clId="{0A7FBB52-A209-4350-A6C8-DCE7C2CB10A7}" dt="2024-11-10T03:34:49.301" v="104" actId="1076"/>
          <ac:spMkLst>
            <pc:docMk/>
            <pc:sldMk cId="1099202900" sldId="2134806571"/>
            <ac:spMk id="9" creationId="{0F35A8C4-17CE-15BD-EBCE-AE05256D46C4}"/>
          </ac:spMkLst>
        </pc:spChg>
        <pc:spChg chg="add mod">
          <ac:chgData name="Mohamed Ibissi" userId="90b6f8706c8cb808" providerId="LiveId" clId="{0A7FBB52-A209-4350-A6C8-DCE7C2CB10A7}" dt="2024-11-10T03:35:56.899" v="109" actId="1076"/>
          <ac:spMkLst>
            <pc:docMk/>
            <pc:sldMk cId="1099202900" sldId="2134806571"/>
            <ac:spMk id="10" creationId="{5ED37D6C-C05C-5DE5-AD70-613E64FEA3E6}"/>
          </ac:spMkLst>
        </pc:spChg>
        <pc:graphicFrameChg chg="del">
          <ac:chgData name="Mohamed Ibissi" userId="90b6f8706c8cb808" providerId="LiveId" clId="{0A7FBB52-A209-4350-A6C8-DCE7C2CB10A7}" dt="2024-11-11T00:54:03.158" v="2311" actId="478"/>
          <ac:graphicFrameMkLst>
            <pc:docMk/>
            <pc:sldMk cId="1099202900" sldId="2134806571"/>
            <ac:graphicFrameMk id="4" creationId="{B52B626F-CE91-6CD9-1AFB-34911E5D9E74}"/>
          </ac:graphicFrameMkLst>
        </pc:graphicFrameChg>
        <pc:picChg chg="mod">
          <ac:chgData name="Mohamed Ibissi" userId="90b6f8706c8cb808" providerId="LiveId" clId="{0A7FBB52-A209-4350-A6C8-DCE7C2CB10A7}" dt="2024-11-11T00:55:21.032" v="2324" actId="1076"/>
          <ac:picMkLst>
            <pc:docMk/>
            <pc:sldMk cId="1099202900" sldId="2134806571"/>
            <ac:picMk id="2" creationId="{8F50507C-9706-D661-81BD-090DC458791D}"/>
          </ac:picMkLst>
        </pc:picChg>
        <pc:picChg chg="add mod">
          <ac:chgData name="Mohamed Ibissi" userId="90b6f8706c8cb808" providerId="LiveId" clId="{0A7FBB52-A209-4350-A6C8-DCE7C2CB10A7}" dt="2024-11-10T03:34:49.301" v="104" actId="1076"/>
          <ac:picMkLst>
            <pc:docMk/>
            <pc:sldMk cId="1099202900" sldId="2134806571"/>
            <ac:picMk id="5" creationId="{5B112CDB-20C5-0E32-55CB-9CDDDB5C17DD}"/>
          </ac:picMkLst>
        </pc:picChg>
        <pc:picChg chg="del">
          <ac:chgData name="Mohamed Ibissi" userId="90b6f8706c8cb808" providerId="LiveId" clId="{0A7FBB52-A209-4350-A6C8-DCE7C2CB10A7}" dt="2024-11-10T03:34:19.556" v="101" actId="478"/>
          <ac:picMkLst>
            <pc:docMk/>
            <pc:sldMk cId="1099202900" sldId="2134806571"/>
            <ac:picMk id="6" creationId="{54545ED0-72E7-36E8-DD44-4F5F52654AAB}"/>
          </ac:picMkLst>
        </pc:picChg>
        <pc:picChg chg="add mod ord">
          <ac:chgData name="Mohamed Ibissi" userId="90b6f8706c8cb808" providerId="LiveId" clId="{0A7FBB52-A209-4350-A6C8-DCE7C2CB10A7}" dt="2024-11-11T00:54:07.927" v="2313" actId="167"/>
          <ac:picMkLst>
            <pc:docMk/>
            <pc:sldMk cId="1099202900" sldId="2134806571"/>
            <ac:picMk id="6" creationId="{EFF69EC9-2D4F-8EF8-4325-A68B99AC2B16}"/>
          </ac:picMkLst>
        </pc:picChg>
      </pc:sldChg>
      <pc:sldChg chg="addSp delSp modSp mod">
        <pc:chgData name="Mohamed Ibissi" userId="90b6f8706c8cb808" providerId="LiveId" clId="{0A7FBB52-A209-4350-A6C8-DCE7C2CB10A7}" dt="2024-11-11T00:54:20.167" v="2316" actId="167"/>
        <pc:sldMkLst>
          <pc:docMk/>
          <pc:sldMk cId="1979342813" sldId="2134806572"/>
        </pc:sldMkLst>
        <pc:spChg chg="mod">
          <ac:chgData name="Mohamed Ibissi" userId="90b6f8706c8cb808" providerId="LiveId" clId="{0A7FBB52-A209-4350-A6C8-DCE7C2CB10A7}" dt="2024-11-10T03:37:08.450" v="143" actId="20577"/>
          <ac:spMkLst>
            <pc:docMk/>
            <pc:sldMk cId="1979342813" sldId="2134806572"/>
            <ac:spMk id="3" creationId="{EA694812-12E0-66B2-488B-9FEB9E1BFD55}"/>
          </ac:spMkLst>
        </pc:spChg>
        <pc:spChg chg="add mod">
          <ac:chgData name="Mohamed Ibissi" userId="90b6f8706c8cb808" providerId="LiveId" clId="{0A7FBB52-A209-4350-A6C8-DCE7C2CB10A7}" dt="2024-11-10T03:36:31.212" v="112"/>
          <ac:spMkLst>
            <pc:docMk/>
            <pc:sldMk cId="1979342813" sldId="2134806572"/>
            <ac:spMk id="5" creationId="{241F1FD5-6A11-A134-680B-6CD5E190E308}"/>
          </ac:spMkLst>
        </pc:spChg>
        <pc:spChg chg="add mod">
          <ac:chgData name="Mohamed Ibissi" userId="90b6f8706c8cb808" providerId="LiveId" clId="{0A7FBB52-A209-4350-A6C8-DCE7C2CB10A7}" dt="2024-11-10T03:36:31.212" v="112"/>
          <ac:spMkLst>
            <pc:docMk/>
            <pc:sldMk cId="1979342813" sldId="2134806572"/>
            <ac:spMk id="6" creationId="{75846634-A0C3-6498-05CC-0FA1A77967A0}"/>
          </ac:spMkLst>
        </pc:spChg>
        <pc:spChg chg="add mod">
          <ac:chgData name="Mohamed Ibissi" userId="90b6f8706c8cb808" providerId="LiveId" clId="{0A7FBB52-A209-4350-A6C8-DCE7C2CB10A7}" dt="2024-11-10T03:36:52.682" v="122" actId="1035"/>
          <ac:spMkLst>
            <pc:docMk/>
            <pc:sldMk cId="1979342813" sldId="2134806572"/>
            <ac:spMk id="7" creationId="{D9A47909-C55C-8E1E-E73C-E7AFAA15855B}"/>
          </ac:spMkLst>
        </pc:spChg>
        <pc:spChg chg="add mod">
          <ac:chgData name="Mohamed Ibissi" userId="90b6f8706c8cb808" providerId="LiveId" clId="{0A7FBB52-A209-4350-A6C8-DCE7C2CB10A7}" dt="2024-11-10T03:38:56.813" v="158" actId="555"/>
          <ac:spMkLst>
            <pc:docMk/>
            <pc:sldMk cId="1979342813" sldId="2134806572"/>
            <ac:spMk id="8" creationId="{EFDE49ED-7AAA-C531-57EB-8BE131680EF4}"/>
          </ac:spMkLst>
        </pc:spChg>
        <pc:spChg chg="del">
          <ac:chgData name="Mohamed Ibissi" userId="90b6f8706c8cb808" providerId="LiveId" clId="{0A7FBB52-A209-4350-A6C8-DCE7C2CB10A7}" dt="2024-11-10T03:36:17.029" v="110" actId="478"/>
          <ac:spMkLst>
            <pc:docMk/>
            <pc:sldMk cId="1979342813" sldId="2134806572"/>
            <ac:spMk id="10" creationId="{8E535FBD-4C0E-7BB1-FE1F-5DCC132E01FA}"/>
          </ac:spMkLst>
        </pc:spChg>
        <pc:spChg chg="del">
          <ac:chgData name="Mohamed Ibissi" userId="90b6f8706c8cb808" providerId="LiveId" clId="{0A7FBB52-A209-4350-A6C8-DCE7C2CB10A7}" dt="2024-11-10T03:36:20.267" v="111" actId="478"/>
          <ac:spMkLst>
            <pc:docMk/>
            <pc:sldMk cId="1979342813" sldId="2134806572"/>
            <ac:spMk id="11" creationId="{22B27D4B-7C30-6409-10E4-47774B7A9065}"/>
          </ac:spMkLst>
        </pc:spChg>
        <pc:spChg chg="add mod">
          <ac:chgData name="Mohamed Ibissi" userId="90b6f8706c8cb808" providerId="LiveId" clId="{0A7FBB52-A209-4350-A6C8-DCE7C2CB10A7}" dt="2024-11-10T03:38:56.813" v="158" actId="555"/>
          <ac:spMkLst>
            <pc:docMk/>
            <pc:sldMk cId="1979342813" sldId="2134806572"/>
            <ac:spMk id="12" creationId="{46D47EAF-0DD7-A2D0-ABA4-F6BC4772BA53}"/>
          </ac:spMkLst>
        </pc:spChg>
        <pc:graphicFrameChg chg="del">
          <ac:chgData name="Mohamed Ibissi" userId="90b6f8706c8cb808" providerId="LiveId" clId="{0A7FBB52-A209-4350-A6C8-DCE7C2CB10A7}" dt="2024-11-11T00:54:14.867" v="2314" actId="478"/>
          <ac:graphicFrameMkLst>
            <pc:docMk/>
            <pc:sldMk cId="1979342813" sldId="2134806572"/>
            <ac:graphicFrameMk id="4" creationId="{5106FE19-AAEE-3ADE-E889-E0D60E3778B3}"/>
          </ac:graphicFrameMkLst>
        </pc:graphicFrameChg>
        <pc:picChg chg="add mod">
          <ac:chgData name="Mohamed Ibissi" userId="90b6f8706c8cb808" providerId="LiveId" clId="{0A7FBB52-A209-4350-A6C8-DCE7C2CB10A7}" dt="2024-11-10T03:36:31.212" v="112"/>
          <ac:picMkLst>
            <pc:docMk/>
            <pc:sldMk cId="1979342813" sldId="2134806572"/>
            <ac:picMk id="2" creationId="{58098A15-E69C-A8E2-5BC4-B17967F06A0F}"/>
          </ac:picMkLst>
        </pc:picChg>
        <pc:picChg chg="add mod ord">
          <ac:chgData name="Mohamed Ibissi" userId="90b6f8706c8cb808" providerId="LiveId" clId="{0A7FBB52-A209-4350-A6C8-DCE7C2CB10A7}" dt="2024-11-11T00:54:20.167" v="2316" actId="167"/>
          <ac:picMkLst>
            <pc:docMk/>
            <pc:sldMk cId="1979342813" sldId="2134806572"/>
            <ac:picMk id="10" creationId="{6B81BB8D-42A9-BE65-A9E7-A707166CF407}"/>
          </ac:picMkLst>
        </pc:picChg>
      </pc:sldChg>
      <pc:sldChg chg="del">
        <pc:chgData name="Mohamed Ibissi" userId="90b6f8706c8cb808" providerId="LiveId" clId="{0A7FBB52-A209-4350-A6C8-DCE7C2CB10A7}" dt="2024-11-10T03:32:44.470" v="35" actId="47"/>
        <pc:sldMkLst>
          <pc:docMk/>
          <pc:sldMk cId="2394306758" sldId="2134806573"/>
        </pc:sldMkLst>
      </pc:sldChg>
      <pc:sldChg chg="del">
        <pc:chgData name="Mohamed Ibissi" userId="90b6f8706c8cb808" providerId="LiveId" clId="{0A7FBB52-A209-4350-A6C8-DCE7C2CB10A7}" dt="2024-11-10T03:32:45.440" v="36" actId="47"/>
        <pc:sldMkLst>
          <pc:docMk/>
          <pc:sldMk cId="1276312805" sldId="2134806574"/>
        </pc:sldMkLst>
      </pc:sldChg>
      <pc:sldChg chg="del">
        <pc:chgData name="Mohamed Ibissi" userId="90b6f8706c8cb808" providerId="LiveId" clId="{0A7FBB52-A209-4350-A6C8-DCE7C2CB10A7}" dt="2024-11-10T03:32:46.409" v="37" actId="47"/>
        <pc:sldMkLst>
          <pc:docMk/>
          <pc:sldMk cId="4219088588" sldId="2134806575"/>
        </pc:sldMkLst>
      </pc:sldChg>
      <pc:sldChg chg="del">
        <pc:chgData name="Mohamed Ibissi" userId="90b6f8706c8cb808" providerId="LiveId" clId="{0A7FBB52-A209-4350-A6C8-DCE7C2CB10A7}" dt="2024-11-10T03:32:47.253" v="38" actId="47"/>
        <pc:sldMkLst>
          <pc:docMk/>
          <pc:sldMk cId="2081825193" sldId="2134806576"/>
        </pc:sldMkLst>
      </pc:sldChg>
      <pc:sldChg chg="del">
        <pc:chgData name="Mohamed Ibissi" userId="90b6f8706c8cb808" providerId="LiveId" clId="{0A7FBB52-A209-4350-A6C8-DCE7C2CB10A7}" dt="2024-11-10T03:32:48.051" v="39" actId="47"/>
        <pc:sldMkLst>
          <pc:docMk/>
          <pc:sldMk cId="1044268184" sldId="2134806577"/>
        </pc:sldMkLst>
      </pc:sldChg>
      <pc:sldChg chg="del">
        <pc:chgData name="Mohamed Ibissi" userId="90b6f8706c8cb808" providerId="LiveId" clId="{0A7FBB52-A209-4350-A6C8-DCE7C2CB10A7}" dt="2024-11-10T03:32:49.082" v="40" actId="47"/>
        <pc:sldMkLst>
          <pc:docMk/>
          <pc:sldMk cId="2374140453" sldId="2134806578"/>
        </pc:sldMkLst>
      </pc:sldChg>
      <pc:sldChg chg="del">
        <pc:chgData name="Mohamed Ibissi" userId="90b6f8706c8cb808" providerId="LiveId" clId="{0A7FBB52-A209-4350-A6C8-DCE7C2CB10A7}" dt="2024-11-10T03:32:50.334" v="41" actId="47"/>
        <pc:sldMkLst>
          <pc:docMk/>
          <pc:sldMk cId="1799374052" sldId="2134806579"/>
        </pc:sldMkLst>
      </pc:sldChg>
      <pc:sldChg chg="del">
        <pc:chgData name="Mohamed Ibissi" userId="90b6f8706c8cb808" providerId="LiveId" clId="{0A7FBB52-A209-4350-A6C8-DCE7C2CB10A7}" dt="2024-11-10T03:32:52.663" v="42" actId="47"/>
        <pc:sldMkLst>
          <pc:docMk/>
          <pc:sldMk cId="105572011" sldId="2134806580"/>
        </pc:sldMkLst>
      </pc:sldChg>
      <pc:sldChg chg="addSp delSp modSp mod">
        <pc:chgData name="Mohamed Ibissi" userId="90b6f8706c8cb808" providerId="LiveId" clId="{0A7FBB52-A209-4350-A6C8-DCE7C2CB10A7}" dt="2024-11-11T00:57:29.654" v="2346" actId="167"/>
        <pc:sldMkLst>
          <pc:docMk/>
          <pc:sldMk cId="1002351891" sldId="2134806581"/>
        </pc:sldMkLst>
        <pc:spChg chg="mod">
          <ac:chgData name="Mohamed Ibissi" userId="90b6f8706c8cb808" providerId="LiveId" clId="{0A7FBB52-A209-4350-A6C8-DCE7C2CB10A7}" dt="2024-11-10T12:47:39.270" v="309" actId="20577"/>
          <ac:spMkLst>
            <pc:docMk/>
            <pc:sldMk cId="1002351891" sldId="2134806581"/>
            <ac:spMk id="6" creationId="{B1B50ABE-970F-C628-E5E3-226FBE2F65E3}"/>
          </ac:spMkLst>
        </pc:spChg>
        <pc:spChg chg="mod">
          <ac:chgData name="Mohamed Ibissi" userId="90b6f8706c8cb808" providerId="LiveId" clId="{0A7FBB52-A209-4350-A6C8-DCE7C2CB10A7}" dt="2024-11-10T12:46:32.907" v="281" actId="20577"/>
          <ac:spMkLst>
            <pc:docMk/>
            <pc:sldMk cId="1002351891" sldId="2134806581"/>
            <ac:spMk id="9" creationId="{E5FE4F8E-ABF1-889C-CB4C-2F7B9B8CABBE}"/>
          </ac:spMkLst>
        </pc:spChg>
        <pc:spChg chg="mod">
          <ac:chgData name="Mohamed Ibissi" userId="90b6f8706c8cb808" providerId="LiveId" clId="{0A7FBB52-A209-4350-A6C8-DCE7C2CB10A7}" dt="2024-11-10T12:47:44.857" v="310" actId="20577"/>
          <ac:spMkLst>
            <pc:docMk/>
            <pc:sldMk cId="1002351891" sldId="2134806581"/>
            <ac:spMk id="10" creationId="{F4AE635A-C9F9-A030-1675-6EAEBF00500E}"/>
          </ac:spMkLst>
        </pc:spChg>
        <pc:graphicFrameChg chg="del">
          <ac:chgData name="Mohamed Ibissi" userId="90b6f8706c8cb808" providerId="LiveId" clId="{0A7FBB52-A209-4350-A6C8-DCE7C2CB10A7}" dt="2024-11-11T00:57:25.012" v="2344" actId="478"/>
          <ac:graphicFrameMkLst>
            <pc:docMk/>
            <pc:sldMk cId="1002351891" sldId="2134806581"/>
            <ac:graphicFrameMk id="5" creationId="{1DEFEF46-2AFB-1F51-0731-A285D3835572}"/>
          </ac:graphicFrameMkLst>
        </pc:graphicFrameChg>
        <pc:picChg chg="add mod ord">
          <ac:chgData name="Mohamed Ibissi" userId="90b6f8706c8cb808" providerId="LiveId" clId="{0A7FBB52-A209-4350-A6C8-DCE7C2CB10A7}" dt="2024-11-11T00:57:29.654" v="2346" actId="167"/>
          <ac:picMkLst>
            <pc:docMk/>
            <pc:sldMk cId="1002351891" sldId="2134806581"/>
            <ac:picMk id="2" creationId="{ACE799F0-1912-10C6-0D7F-D4A46ADF9C5D}"/>
          </ac:picMkLst>
        </pc:picChg>
        <pc:picChg chg="del">
          <ac:chgData name="Mohamed Ibissi" userId="90b6f8706c8cb808" providerId="LiveId" clId="{0A7FBB52-A209-4350-A6C8-DCE7C2CB10A7}" dt="2024-11-10T12:46:36.946" v="283" actId="478"/>
          <ac:picMkLst>
            <pc:docMk/>
            <pc:sldMk cId="1002351891" sldId="2134806581"/>
            <ac:picMk id="2" creationId="{C417A312-91C9-5785-5BCB-1303EC10030B}"/>
          </ac:picMkLst>
        </pc:picChg>
        <pc:picChg chg="del">
          <ac:chgData name="Mohamed Ibissi" userId="90b6f8706c8cb808" providerId="LiveId" clId="{0A7FBB52-A209-4350-A6C8-DCE7C2CB10A7}" dt="2024-11-10T12:46:35.442" v="282" actId="478"/>
          <ac:picMkLst>
            <pc:docMk/>
            <pc:sldMk cId="1002351891" sldId="2134806581"/>
            <ac:picMk id="3" creationId="{2EA213BF-DD54-A9E1-B287-C5D6E9A4980A}"/>
          </ac:picMkLst>
        </pc:picChg>
        <pc:picChg chg="add mod">
          <ac:chgData name="Mohamed Ibissi" userId="90b6f8706c8cb808" providerId="LiveId" clId="{0A7FBB52-A209-4350-A6C8-DCE7C2CB10A7}" dt="2024-11-10T12:46:44.191" v="284"/>
          <ac:picMkLst>
            <pc:docMk/>
            <pc:sldMk cId="1002351891" sldId="2134806581"/>
            <ac:picMk id="4" creationId="{FEFE0B28-DE1C-3024-47D3-DD9071E2C1FB}"/>
          </ac:picMkLst>
        </pc:picChg>
        <pc:picChg chg="add mod">
          <ac:chgData name="Mohamed Ibissi" userId="90b6f8706c8cb808" providerId="LiveId" clId="{0A7FBB52-A209-4350-A6C8-DCE7C2CB10A7}" dt="2024-11-10T12:46:44.191" v="284"/>
          <ac:picMkLst>
            <pc:docMk/>
            <pc:sldMk cId="1002351891" sldId="2134806581"/>
            <ac:picMk id="11" creationId="{9D5CC054-3406-127D-BCF2-9A0E376C20C4}"/>
          </ac:picMkLst>
        </pc:picChg>
        <pc:picChg chg="add mod">
          <ac:chgData name="Mohamed Ibissi" userId="90b6f8706c8cb808" providerId="LiveId" clId="{0A7FBB52-A209-4350-A6C8-DCE7C2CB10A7}" dt="2024-11-10T12:46:44.191" v="284"/>
          <ac:picMkLst>
            <pc:docMk/>
            <pc:sldMk cId="1002351891" sldId="2134806581"/>
            <ac:picMk id="12" creationId="{C9331122-3FFD-32F8-EFDC-2107922FA027}"/>
          </ac:picMkLst>
        </pc:picChg>
        <pc:picChg chg="add mod">
          <ac:chgData name="Mohamed Ibissi" userId="90b6f8706c8cb808" providerId="LiveId" clId="{0A7FBB52-A209-4350-A6C8-DCE7C2CB10A7}" dt="2024-11-10T12:46:44.191" v="284"/>
          <ac:picMkLst>
            <pc:docMk/>
            <pc:sldMk cId="1002351891" sldId="2134806581"/>
            <ac:picMk id="13" creationId="{3C93F40A-50E4-B4BD-03F5-F4881FF4BCA8}"/>
          </ac:picMkLst>
        </pc:picChg>
      </pc:sldChg>
      <pc:sldChg chg="addSp delSp modSp mod">
        <pc:chgData name="Mohamed Ibissi" userId="90b6f8706c8cb808" providerId="LiveId" clId="{0A7FBB52-A209-4350-A6C8-DCE7C2CB10A7}" dt="2024-11-11T00:57:40.163" v="2349" actId="167"/>
        <pc:sldMkLst>
          <pc:docMk/>
          <pc:sldMk cId="860299039" sldId="2134806582"/>
        </pc:sldMkLst>
        <pc:spChg chg="mod">
          <ac:chgData name="Mohamed Ibissi" userId="90b6f8706c8cb808" providerId="LiveId" clId="{0A7FBB52-A209-4350-A6C8-DCE7C2CB10A7}" dt="2024-11-10T12:48:26.073" v="329" actId="20577"/>
          <ac:spMkLst>
            <pc:docMk/>
            <pc:sldMk cId="860299039" sldId="2134806582"/>
            <ac:spMk id="6" creationId="{AED90451-2815-BC9C-4D87-D0C0FD322872}"/>
          </ac:spMkLst>
        </pc:spChg>
        <pc:spChg chg="mod">
          <ac:chgData name="Mohamed Ibissi" userId="90b6f8706c8cb808" providerId="LiveId" clId="{0A7FBB52-A209-4350-A6C8-DCE7C2CB10A7}" dt="2024-11-10T23:04:33.177" v="1501" actId="20577"/>
          <ac:spMkLst>
            <pc:docMk/>
            <pc:sldMk cId="860299039" sldId="2134806582"/>
            <ac:spMk id="9" creationId="{91AD8151-FC43-9DEF-03EF-84AA34E5C49F}"/>
          </ac:spMkLst>
        </pc:spChg>
        <pc:spChg chg="mod">
          <ac:chgData name="Mohamed Ibissi" userId="90b6f8706c8cb808" providerId="LiveId" clId="{0A7FBB52-A209-4350-A6C8-DCE7C2CB10A7}" dt="2024-11-10T23:04:36.708" v="1502" actId="20577"/>
          <ac:spMkLst>
            <pc:docMk/>
            <pc:sldMk cId="860299039" sldId="2134806582"/>
            <ac:spMk id="10" creationId="{D27A0347-F0BB-E416-4310-6BAC93BE93E4}"/>
          </ac:spMkLst>
        </pc:spChg>
        <pc:graphicFrameChg chg="del">
          <ac:chgData name="Mohamed Ibissi" userId="90b6f8706c8cb808" providerId="LiveId" clId="{0A7FBB52-A209-4350-A6C8-DCE7C2CB10A7}" dt="2024-11-11T00:57:35.957" v="2347" actId="478"/>
          <ac:graphicFrameMkLst>
            <pc:docMk/>
            <pc:sldMk cId="860299039" sldId="2134806582"/>
            <ac:graphicFrameMk id="5" creationId="{DD04BBEC-6048-8F36-BF2F-B99705EB96F1}"/>
          </ac:graphicFrameMkLst>
        </pc:graphicFrameChg>
        <pc:picChg chg="del">
          <ac:chgData name="Mohamed Ibissi" userId="90b6f8706c8cb808" providerId="LiveId" clId="{0A7FBB52-A209-4350-A6C8-DCE7C2CB10A7}" dt="2024-11-10T12:48:04.361" v="311" actId="478"/>
          <ac:picMkLst>
            <pc:docMk/>
            <pc:sldMk cId="860299039" sldId="2134806582"/>
            <ac:picMk id="2" creationId="{5BC24D5D-0BA6-F1E0-CA86-682E03DA3FA7}"/>
          </ac:picMkLst>
        </pc:picChg>
        <pc:picChg chg="add mod ord">
          <ac:chgData name="Mohamed Ibissi" userId="90b6f8706c8cb808" providerId="LiveId" clId="{0A7FBB52-A209-4350-A6C8-DCE7C2CB10A7}" dt="2024-11-11T00:57:40.163" v="2349" actId="167"/>
          <ac:picMkLst>
            <pc:docMk/>
            <pc:sldMk cId="860299039" sldId="2134806582"/>
            <ac:picMk id="2" creationId="{D704290E-CB24-2A13-EC38-CD6F7ACB8B36}"/>
          </ac:picMkLst>
        </pc:picChg>
        <pc:picChg chg="del">
          <ac:chgData name="Mohamed Ibissi" userId="90b6f8706c8cb808" providerId="LiveId" clId="{0A7FBB52-A209-4350-A6C8-DCE7C2CB10A7}" dt="2024-11-10T12:48:05.838" v="312" actId="478"/>
          <ac:picMkLst>
            <pc:docMk/>
            <pc:sldMk cId="860299039" sldId="2134806582"/>
            <ac:picMk id="3" creationId="{34939DAC-E386-3DA1-D36D-033450D65AB7}"/>
          </ac:picMkLst>
        </pc:picChg>
        <pc:picChg chg="add mod">
          <ac:chgData name="Mohamed Ibissi" userId="90b6f8706c8cb808" providerId="LiveId" clId="{0A7FBB52-A209-4350-A6C8-DCE7C2CB10A7}" dt="2024-11-10T12:48:06.406" v="313"/>
          <ac:picMkLst>
            <pc:docMk/>
            <pc:sldMk cId="860299039" sldId="2134806582"/>
            <ac:picMk id="11" creationId="{730ED630-703D-5BCD-170F-D387B411870E}"/>
          </ac:picMkLst>
        </pc:picChg>
        <pc:picChg chg="add mod">
          <ac:chgData name="Mohamed Ibissi" userId="90b6f8706c8cb808" providerId="LiveId" clId="{0A7FBB52-A209-4350-A6C8-DCE7C2CB10A7}" dt="2024-11-10T12:48:06.406" v="313"/>
          <ac:picMkLst>
            <pc:docMk/>
            <pc:sldMk cId="860299039" sldId="2134806582"/>
            <ac:picMk id="12" creationId="{CF98C8F6-E811-C9E8-EA62-6CBE5AB49948}"/>
          </ac:picMkLst>
        </pc:picChg>
        <pc:picChg chg="add mod">
          <ac:chgData name="Mohamed Ibissi" userId="90b6f8706c8cb808" providerId="LiveId" clId="{0A7FBB52-A209-4350-A6C8-DCE7C2CB10A7}" dt="2024-11-10T12:48:06.406" v="313"/>
          <ac:picMkLst>
            <pc:docMk/>
            <pc:sldMk cId="860299039" sldId="2134806582"/>
            <ac:picMk id="13" creationId="{F5DE06B8-9F87-35E1-4062-E5766421DD4D}"/>
          </ac:picMkLst>
        </pc:picChg>
        <pc:picChg chg="add mod">
          <ac:chgData name="Mohamed Ibissi" userId="90b6f8706c8cb808" providerId="LiveId" clId="{0A7FBB52-A209-4350-A6C8-DCE7C2CB10A7}" dt="2024-11-10T12:48:06.406" v="313"/>
          <ac:picMkLst>
            <pc:docMk/>
            <pc:sldMk cId="860299039" sldId="2134806582"/>
            <ac:picMk id="14" creationId="{06BAFBF0-40B8-5405-2912-E1A690B92C60}"/>
          </ac:picMkLst>
        </pc:picChg>
      </pc:sldChg>
      <pc:sldChg chg="addSp delSp modSp mod">
        <pc:chgData name="Mohamed Ibissi" userId="90b6f8706c8cb808" providerId="LiveId" clId="{0A7FBB52-A209-4350-A6C8-DCE7C2CB10A7}" dt="2024-11-11T00:57:51.622" v="2352" actId="167"/>
        <pc:sldMkLst>
          <pc:docMk/>
          <pc:sldMk cId="3525069982" sldId="2134806583"/>
        </pc:sldMkLst>
        <pc:spChg chg="mod">
          <ac:chgData name="Mohamed Ibissi" userId="90b6f8706c8cb808" providerId="LiveId" clId="{0A7FBB52-A209-4350-A6C8-DCE7C2CB10A7}" dt="2024-11-10T12:48:56.942" v="335" actId="20577"/>
          <ac:spMkLst>
            <pc:docMk/>
            <pc:sldMk cId="3525069982" sldId="2134806583"/>
            <ac:spMk id="6" creationId="{E84E2043-5643-1A39-FBAA-F7DB4D3FE650}"/>
          </ac:spMkLst>
        </pc:spChg>
        <pc:spChg chg="mod">
          <ac:chgData name="Mohamed Ibissi" userId="90b6f8706c8cb808" providerId="LiveId" clId="{0A7FBB52-A209-4350-A6C8-DCE7C2CB10A7}" dt="2024-11-10T12:49:05.741" v="338" actId="20577"/>
          <ac:spMkLst>
            <pc:docMk/>
            <pc:sldMk cId="3525069982" sldId="2134806583"/>
            <ac:spMk id="9" creationId="{42623279-72F2-D189-2353-4A904FA366EB}"/>
          </ac:spMkLst>
        </pc:spChg>
        <pc:spChg chg="mod">
          <ac:chgData name="Mohamed Ibissi" userId="90b6f8706c8cb808" providerId="LiveId" clId="{0A7FBB52-A209-4350-A6C8-DCE7C2CB10A7}" dt="2024-11-10T12:49:08.197" v="339" actId="20577"/>
          <ac:spMkLst>
            <pc:docMk/>
            <pc:sldMk cId="3525069982" sldId="2134806583"/>
            <ac:spMk id="10" creationId="{86992C40-697A-8555-C05C-8C3565F4FD74}"/>
          </ac:spMkLst>
        </pc:spChg>
        <pc:graphicFrameChg chg="del">
          <ac:chgData name="Mohamed Ibissi" userId="90b6f8706c8cb808" providerId="LiveId" clId="{0A7FBB52-A209-4350-A6C8-DCE7C2CB10A7}" dt="2024-11-11T00:57:47.245" v="2350" actId="478"/>
          <ac:graphicFrameMkLst>
            <pc:docMk/>
            <pc:sldMk cId="3525069982" sldId="2134806583"/>
            <ac:graphicFrameMk id="5" creationId="{D906EE75-DA43-0628-726A-52973C7EC05E}"/>
          </ac:graphicFrameMkLst>
        </pc:graphicFrameChg>
        <pc:picChg chg="add mod ord">
          <ac:chgData name="Mohamed Ibissi" userId="90b6f8706c8cb808" providerId="LiveId" clId="{0A7FBB52-A209-4350-A6C8-DCE7C2CB10A7}" dt="2024-11-11T00:57:51.622" v="2352" actId="167"/>
          <ac:picMkLst>
            <pc:docMk/>
            <pc:sldMk cId="3525069982" sldId="2134806583"/>
            <ac:picMk id="2" creationId="{6AC735EA-B496-B260-5371-969FBB9A239B}"/>
          </ac:picMkLst>
        </pc:picChg>
        <pc:picChg chg="del">
          <ac:chgData name="Mohamed Ibissi" userId="90b6f8706c8cb808" providerId="LiveId" clId="{0A7FBB52-A209-4350-A6C8-DCE7C2CB10A7}" dt="2024-11-10T12:49:02.235" v="337" actId="478"/>
          <ac:picMkLst>
            <pc:docMk/>
            <pc:sldMk cId="3525069982" sldId="2134806583"/>
            <ac:picMk id="2" creationId="{A94FE954-6945-DEF4-9293-CDAFEA127EAF}"/>
          </ac:picMkLst>
        </pc:picChg>
        <pc:picChg chg="del">
          <ac:chgData name="Mohamed Ibissi" userId="90b6f8706c8cb808" providerId="LiveId" clId="{0A7FBB52-A209-4350-A6C8-DCE7C2CB10A7}" dt="2024-11-10T12:49:00.669" v="336" actId="478"/>
          <ac:picMkLst>
            <pc:docMk/>
            <pc:sldMk cId="3525069982" sldId="2134806583"/>
            <ac:picMk id="3" creationId="{8C950061-C1F1-C531-62BE-954A401A590C}"/>
          </ac:picMkLst>
        </pc:picChg>
        <pc:picChg chg="add mod">
          <ac:chgData name="Mohamed Ibissi" userId="90b6f8706c8cb808" providerId="LiveId" clId="{0A7FBB52-A209-4350-A6C8-DCE7C2CB10A7}" dt="2024-11-10T12:49:18.909" v="340"/>
          <ac:picMkLst>
            <pc:docMk/>
            <pc:sldMk cId="3525069982" sldId="2134806583"/>
            <ac:picMk id="11" creationId="{6BB981F9-75CE-47D1-DE0F-ECDB0F24BAE7}"/>
          </ac:picMkLst>
        </pc:picChg>
        <pc:picChg chg="add mod">
          <ac:chgData name="Mohamed Ibissi" userId="90b6f8706c8cb808" providerId="LiveId" clId="{0A7FBB52-A209-4350-A6C8-DCE7C2CB10A7}" dt="2024-11-10T12:49:18.909" v="340"/>
          <ac:picMkLst>
            <pc:docMk/>
            <pc:sldMk cId="3525069982" sldId="2134806583"/>
            <ac:picMk id="12" creationId="{5C160AB2-3765-56B7-4A9E-B80C5E964D36}"/>
          </ac:picMkLst>
        </pc:picChg>
        <pc:picChg chg="add mod">
          <ac:chgData name="Mohamed Ibissi" userId="90b6f8706c8cb808" providerId="LiveId" clId="{0A7FBB52-A209-4350-A6C8-DCE7C2CB10A7}" dt="2024-11-10T12:49:18.909" v="340"/>
          <ac:picMkLst>
            <pc:docMk/>
            <pc:sldMk cId="3525069982" sldId="2134806583"/>
            <ac:picMk id="13" creationId="{F160F35C-7F44-2258-1ED9-C964E2B84054}"/>
          </ac:picMkLst>
        </pc:picChg>
        <pc:picChg chg="add mod">
          <ac:chgData name="Mohamed Ibissi" userId="90b6f8706c8cb808" providerId="LiveId" clId="{0A7FBB52-A209-4350-A6C8-DCE7C2CB10A7}" dt="2024-11-10T12:49:18.909" v="340"/>
          <ac:picMkLst>
            <pc:docMk/>
            <pc:sldMk cId="3525069982" sldId="2134806583"/>
            <ac:picMk id="14" creationId="{BD9B2B73-E40C-FFEF-6A4D-95507672AA63}"/>
          </ac:picMkLst>
        </pc:picChg>
      </pc:sldChg>
      <pc:sldChg chg="addSp delSp modSp mod">
        <pc:chgData name="Mohamed Ibissi" userId="90b6f8706c8cb808" providerId="LiveId" clId="{0A7FBB52-A209-4350-A6C8-DCE7C2CB10A7}" dt="2024-11-12T15:07:32.445" v="2703"/>
        <pc:sldMkLst>
          <pc:docMk/>
          <pc:sldMk cId="349985760" sldId="2134806584"/>
        </pc:sldMkLst>
        <pc:spChg chg="mod">
          <ac:chgData name="Mohamed Ibissi" userId="90b6f8706c8cb808" providerId="LiveId" clId="{0A7FBB52-A209-4350-A6C8-DCE7C2CB10A7}" dt="2024-11-12T15:07:32.445" v="2703"/>
          <ac:spMkLst>
            <pc:docMk/>
            <pc:sldMk cId="349985760" sldId="2134806584"/>
            <ac:spMk id="2" creationId="{86F6FBDA-D3E0-DBFD-D570-4840B8ECB796}"/>
          </ac:spMkLst>
        </pc:spChg>
        <pc:spChg chg="mod">
          <ac:chgData name="Mohamed Ibissi" userId="90b6f8706c8cb808" providerId="LiveId" clId="{0A7FBB52-A209-4350-A6C8-DCE7C2CB10A7}" dt="2024-11-10T12:53:55.802" v="412" actId="1037"/>
          <ac:spMkLst>
            <pc:docMk/>
            <pc:sldMk cId="349985760" sldId="2134806584"/>
            <ac:spMk id="4" creationId="{ABC74FC6-F703-75AB-AF4A-89E07A0F8F35}"/>
          </ac:spMkLst>
        </pc:spChg>
        <pc:graphicFrameChg chg="del">
          <ac:chgData name="Mohamed Ibissi" userId="90b6f8706c8cb808" providerId="LiveId" clId="{0A7FBB52-A209-4350-A6C8-DCE7C2CB10A7}" dt="2024-11-11T00:58:12.882" v="2356" actId="478"/>
          <ac:graphicFrameMkLst>
            <pc:docMk/>
            <pc:sldMk cId="349985760" sldId="2134806584"/>
            <ac:graphicFrameMk id="7" creationId="{82D3DA4A-9EC4-B8C7-BD49-9250905399EB}"/>
          </ac:graphicFrameMkLst>
        </pc:graphicFrameChg>
        <pc:picChg chg="add mod ord">
          <ac:chgData name="Mohamed Ibissi" userId="90b6f8706c8cb808" providerId="LiveId" clId="{0A7FBB52-A209-4350-A6C8-DCE7C2CB10A7}" dt="2024-11-11T00:58:17.542" v="2358" actId="167"/>
          <ac:picMkLst>
            <pc:docMk/>
            <pc:sldMk cId="349985760" sldId="2134806584"/>
            <ac:picMk id="5" creationId="{E2D37E9F-4DA0-1A1A-204A-525D6CDA866B}"/>
          </ac:picMkLst>
        </pc:picChg>
        <pc:picChg chg="mod">
          <ac:chgData name="Mohamed Ibissi" userId="90b6f8706c8cb808" providerId="LiveId" clId="{0A7FBB52-A209-4350-A6C8-DCE7C2CB10A7}" dt="2024-11-10T12:53:06.434" v="385" actId="14826"/>
          <ac:picMkLst>
            <pc:docMk/>
            <pc:sldMk cId="349985760" sldId="2134806584"/>
            <ac:picMk id="8" creationId="{1AAA1774-B1DC-05AD-A363-2F0B3E3D981D}"/>
          </ac:picMkLst>
        </pc:picChg>
      </pc:sldChg>
      <pc:sldChg chg="addSp delSp modSp del mod">
        <pc:chgData name="Mohamed Ibissi" userId="90b6f8706c8cb808" providerId="LiveId" clId="{0A7FBB52-A209-4350-A6C8-DCE7C2CB10A7}" dt="2024-11-12T14:58:02.592" v="2639" actId="47"/>
        <pc:sldMkLst>
          <pc:docMk/>
          <pc:sldMk cId="1338860684" sldId="2134806585"/>
        </pc:sldMkLst>
        <pc:graphicFrameChg chg="del">
          <ac:chgData name="Mohamed Ibissi" userId="90b6f8706c8cb808" providerId="LiveId" clId="{0A7FBB52-A209-4350-A6C8-DCE7C2CB10A7}" dt="2024-11-11T00:58:42.527" v="2362" actId="478"/>
          <ac:graphicFrameMkLst>
            <pc:docMk/>
            <pc:sldMk cId="1338860684" sldId="2134806585"/>
            <ac:graphicFrameMk id="4" creationId="{94168F6D-5336-8502-7AB0-00DB97208B1F}"/>
          </ac:graphicFrameMkLst>
        </pc:graphicFrameChg>
        <pc:picChg chg="add del mod">
          <ac:chgData name="Mohamed Ibissi" userId="90b6f8706c8cb808" providerId="LiveId" clId="{0A7FBB52-A209-4350-A6C8-DCE7C2CB10A7}" dt="2024-11-11T00:48:39.355" v="2299" actId="21"/>
          <ac:picMkLst>
            <pc:docMk/>
            <pc:sldMk cId="1338860684" sldId="2134806585"/>
            <ac:picMk id="3" creationId="{B3F3E396-0403-1C47-7E4F-08F275F5A13B}"/>
          </ac:picMkLst>
        </pc:picChg>
        <pc:picChg chg="add mod ord">
          <ac:chgData name="Mohamed Ibissi" userId="90b6f8706c8cb808" providerId="LiveId" clId="{0A7FBB52-A209-4350-A6C8-DCE7C2CB10A7}" dt="2024-11-11T00:58:47.532" v="2364" actId="167"/>
          <ac:picMkLst>
            <pc:docMk/>
            <pc:sldMk cId="1338860684" sldId="2134806585"/>
            <ac:picMk id="7" creationId="{9165846C-B172-5817-07E2-F7BF675C094D}"/>
          </ac:picMkLst>
        </pc:picChg>
      </pc:sldChg>
      <pc:sldChg chg="addSp delSp modSp del mod">
        <pc:chgData name="Mohamed Ibissi" userId="90b6f8706c8cb808" providerId="LiveId" clId="{0A7FBB52-A209-4350-A6C8-DCE7C2CB10A7}" dt="2024-11-12T14:58:05.093" v="2640" actId="47"/>
        <pc:sldMkLst>
          <pc:docMk/>
          <pc:sldMk cId="664354076" sldId="2134806586"/>
        </pc:sldMkLst>
        <pc:graphicFrameChg chg="del">
          <ac:chgData name="Mohamed Ibissi" userId="90b6f8706c8cb808" providerId="LiveId" clId="{0A7FBB52-A209-4350-A6C8-DCE7C2CB10A7}" dt="2024-11-11T00:58:53.942" v="2365" actId="478"/>
          <ac:graphicFrameMkLst>
            <pc:docMk/>
            <pc:sldMk cId="664354076" sldId="2134806586"/>
            <ac:graphicFrameMk id="4" creationId="{881B09CB-E36E-5132-736C-63A45BD5AEC7}"/>
          </ac:graphicFrameMkLst>
        </pc:graphicFrameChg>
        <pc:picChg chg="add mod ord">
          <ac:chgData name="Mohamed Ibissi" userId="90b6f8706c8cb808" providerId="LiveId" clId="{0A7FBB52-A209-4350-A6C8-DCE7C2CB10A7}" dt="2024-11-11T00:58:58.227" v="2367" actId="167"/>
          <ac:picMkLst>
            <pc:docMk/>
            <pc:sldMk cId="664354076" sldId="2134806586"/>
            <ac:picMk id="5" creationId="{38A4DFAA-554A-06A6-EE53-17852BA97622}"/>
          </ac:picMkLst>
        </pc:picChg>
      </pc:sldChg>
      <pc:sldChg chg="addSp delSp modSp mod modAnim">
        <pc:chgData name="Mohamed Ibissi" userId="90b6f8706c8cb808" providerId="LiveId" clId="{0A7FBB52-A209-4350-A6C8-DCE7C2CB10A7}" dt="2024-11-12T15:07:53.487" v="2706"/>
        <pc:sldMkLst>
          <pc:docMk/>
          <pc:sldMk cId="3495997754" sldId="2134806587"/>
        </pc:sldMkLst>
        <pc:spChg chg="mod">
          <ac:chgData name="Mohamed Ibissi" userId="90b6f8706c8cb808" providerId="LiveId" clId="{0A7FBB52-A209-4350-A6C8-DCE7C2CB10A7}" dt="2024-11-12T15:07:53.487" v="2706"/>
          <ac:spMkLst>
            <pc:docMk/>
            <pc:sldMk cId="3495997754" sldId="2134806587"/>
            <ac:spMk id="2" creationId="{240182B4-1664-3049-12D4-E318035CED7A}"/>
          </ac:spMkLst>
        </pc:spChg>
        <pc:spChg chg="mod">
          <ac:chgData name="Mohamed Ibissi" userId="90b6f8706c8cb808" providerId="LiveId" clId="{0A7FBB52-A209-4350-A6C8-DCE7C2CB10A7}" dt="2024-11-10T12:55:59.825" v="450" actId="1037"/>
          <ac:spMkLst>
            <pc:docMk/>
            <pc:sldMk cId="3495997754" sldId="2134806587"/>
            <ac:spMk id="4" creationId="{93F6B28A-440C-E816-E1E2-DCD6B18B403F}"/>
          </ac:spMkLst>
        </pc:spChg>
        <pc:spChg chg="add mod">
          <ac:chgData name="Mohamed Ibissi" userId="90b6f8706c8cb808" providerId="LiveId" clId="{0A7FBB52-A209-4350-A6C8-DCE7C2CB10A7}" dt="2024-11-10T12:56:30.850" v="452" actId="1076"/>
          <ac:spMkLst>
            <pc:docMk/>
            <pc:sldMk cId="3495997754" sldId="2134806587"/>
            <ac:spMk id="5" creationId="{6F3B0D82-CBA0-7100-F304-CCD2E5E5C966}"/>
          </ac:spMkLst>
        </pc:spChg>
        <pc:spChg chg="add mod">
          <ac:chgData name="Mohamed Ibissi" userId="90b6f8706c8cb808" providerId="LiveId" clId="{0A7FBB52-A209-4350-A6C8-DCE7C2CB10A7}" dt="2024-11-10T12:56:30.850" v="452" actId="1076"/>
          <ac:spMkLst>
            <pc:docMk/>
            <pc:sldMk cId="3495997754" sldId="2134806587"/>
            <ac:spMk id="9" creationId="{1C8E21D8-AFEF-BAAE-0BB6-CE2852684D00}"/>
          </ac:spMkLst>
        </pc:spChg>
        <pc:graphicFrameChg chg="del">
          <ac:chgData name="Mohamed Ibissi" userId="90b6f8706c8cb808" providerId="LiveId" clId="{0A7FBB52-A209-4350-A6C8-DCE7C2CB10A7}" dt="2024-11-11T00:59:20.035" v="2371" actId="478"/>
          <ac:graphicFrameMkLst>
            <pc:docMk/>
            <pc:sldMk cId="3495997754" sldId="2134806587"/>
            <ac:graphicFrameMk id="7" creationId="{92246589-73F9-5E9B-B2D9-F86B6D037183}"/>
          </ac:graphicFrameMkLst>
        </pc:graphicFrameChg>
        <pc:picChg chg="mod">
          <ac:chgData name="Mohamed Ibissi" userId="90b6f8706c8cb808" providerId="LiveId" clId="{0A7FBB52-A209-4350-A6C8-DCE7C2CB10A7}" dt="2024-11-10T12:55:32.577" v="429" actId="14826"/>
          <ac:picMkLst>
            <pc:docMk/>
            <pc:sldMk cId="3495997754" sldId="2134806587"/>
            <ac:picMk id="8" creationId="{4BB350C8-0C4F-D4DA-DBEB-522F017EE249}"/>
          </ac:picMkLst>
        </pc:picChg>
        <pc:picChg chg="add mod ord">
          <ac:chgData name="Mohamed Ibissi" userId="90b6f8706c8cb808" providerId="LiveId" clId="{0A7FBB52-A209-4350-A6C8-DCE7C2CB10A7}" dt="2024-11-11T00:59:27.716" v="2373" actId="167"/>
          <ac:picMkLst>
            <pc:docMk/>
            <pc:sldMk cId="3495997754" sldId="2134806587"/>
            <ac:picMk id="10" creationId="{989883EB-FC92-BB72-85AA-D1EF382829A0}"/>
          </ac:picMkLst>
        </pc:picChg>
      </pc:sldChg>
      <pc:sldChg chg="addSp delSp modSp del mod">
        <pc:chgData name="Mohamed Ibissi" userId="90b6f8706c8cb808" providerId="LiveId" clId="{0A7FBB52-A209-4350-A6C8-DCE7C2CB10A7}" dt="2024-11-12T14:58:27.369" v="2641" actId="47"/>
        <pc:sldMkLst>
          <pc:docMk/>
          <pc:sldMk cId="607332811" sldId="2134806588"/>
        </pc:sldMkLst>
        <pc:graphicFrameChg chg="del">
          <ac:chgData name="Mohamed Ibissi" userId="90b6f8706c8cb808" providerId="LiveId" clId="{0A7FBB52-A209-4350-A6C8-DCE7C2CB10A7}" dt="2024-11-11T00:59:39.940" v="2374" actId="478"/>
          <ac:graphicFrameMkLst>
            <pc:docMk/>
            <pc:sldMk cId="607332811" sldId="2134806588"/>
            <ac:graphicFrameMk id="4" creationId="{1063086A-CFF3-8CD6-86A8-8EE88C8DC628}"/>
          </ac:graphicFrameMkLst>
        </pc:graphicFrameChg>
        <pc:picChg chg="add mod ord">
          <ac:chgData name="Mohamed Ibissi" userId="90b6f8706c8cb808" providerId="LiveId" clId="{0A7FBB52-A209-4350-A6C8-DCE7C2CB10A7}" dt="2024-11-11T00:59:47.822" v="2376" actId="167"/>
          <ac:picMkLst>
            <pc:docMk/>
            <pc:sldMk cId="607332811" sldId="2134806588"/>
            <ac:picMk id="5" creationId="{9CEF41E7-78E7-85C5-ED52-E078F16F06A1}"/>
          </ac:picMkLst>
        </pc:picChg>
      </pc:sldChg>
      <pc:sldChg chg="addSp delSp modSp del mod">
        <pc:chgData name="Mohamed Ibissi" userId="90b6f8706c8cb808" providerId="LiveId" clId="{0A7FBB52-A209-4350-A6C8-DCE7C2CB10A7}" dt="2024-11-12T14:58:28.307" v="2642" actId="47"/>
        <pc:sldMkLst>
          <pc:docMk/>
          <pc:sldMk cId="2453298672" sldId="2134806589"/>
        </pc:sldMkLst>
        <pc:graphicFrameChg chg="del">
          <ac:chgData name="Mohamed Ibissi" userId="90b6f8706c8cb808" providerId="LiveId" clId="{0A7FBB52-A209-4350-A6C8-DCE7C2CB10A7}" dt="2024-11-11T00:59:57.232" v="2377" actId="478"/>
          <ac:graphicFrameMkLst>
            <pc:docMk/>
            <pc:sldMk cId="2453298672" sldId="2134806589"/>
            <ac:graphicFrameMk id="4" creationId="{FA33CCF2-7DED-04E3-EBCE-EB09B80A64CC}"/>
          </ac:graphicFrameMkLst>
        </pc:graphicFrameChg>
        <pc:picChg chg="add mod ord">
          <ac:chgData name="Mohamed Ibissi" userId="90b6f8706c8cb808" providerId="LiveId" clId="{0A7FBB52-A209-4350-A6C8-DCE7C2CB10A7}" dt="2024-11-11T01:00:04.565" v="2379" actId="167"/>
          <ac:picMkLst>
            <pc:docMk/>
            <pc:sldMk cId="2453298672" sldId="2134806589"/>
            <ac:picMk id="3" creationId="{FD5ECF4C-1DD0-4CBB-97A2-BE948A94F9BA}"/>
          </ac:picMkLst>
        </pc:picChg>
      </pc:sldChg>
      <pc:sldChg chg="addSp delSp modSp add del mod">
        <pc:chgData name="Mohamed Ibissi" userId="90b6f8706c8cb808" providerId="LiveId" clId="{0A7FBB52-A209-4350-A6C8-DCE7C2CB10A7}" dt="2024-11-12T15:07:44.965" v="2704" actId="47"/>
        <pc:sldMkLst>
          <pc:docMk/>
          <pc:sldMk cId="1054686414" sldId="2134806590"/>
        </pc:sldMkLst>
        <pc:graphicFrameChg chg="del">
          <ac:chgData name="Mohamed Ibissi" userId="90b6f8706c8cb808" providerId="LiveId" clId="{0A7FBB52-A209-4350-A6C8-DCE7C2CB10A7}" dt="2024-11-11T01:00:12.349" v="2380" actId="478"/>
          <ac:graphicFrameMkLst>
            <pc:docMk/>
            <pc:sldMk cId="1054686414" sldId="2134806590"/>
            <ac:graphicFrameMk id="4" creationId="{EBDE1A5A-3D00-ADC8-0C18-FFD182665E33}"/>
          </ac:graphicFrameMkLst>
        </pc:graphicFrameChg>
        <pc:picChg chg="add mod ord">
          <ac:chgData name="Mohamed Ibissi" userId="90b6f8706c8cb808" providerId="LiveId" clId="{0A7FBB52-A209-4350-A6C8-DCE7C2CB10A7}" dt="2024-11-11T01:00:18.210" v="2382" actId="167"/>
          <ac:picMkLst>
            <pc:docMk/>
            <pc:sldMk cId="1054686414" sldId="2134806590"/>
            <ac:picMk id="5" creationId="{28B79621-44C8-1C19-D574-A23ABBEE4654}"/>
          </ac:picMkLst>
        </pc:picChg>
      </pc:sldChg>
      <pc:sldChg chg="addSp delSp modSp add del mod">
        <pc:chgData name="Mohamed Ibissi" userId="90b6f8706c8cb808" providerId="LiveId" clId="{0A7FBB52-A209-4350-A6C8-DCE7C2CB10A7}" dt="2024-11-12T15:03:27.602" v="2700" actId="47"/>
        <pc:sldMkLst>
          <pc:docMk/>
          <pc:sldMk cId="3010431797" sldId="2134806591"/>
        </pc:sldMkLst>
        <pc:spChg chg="mod">
          <ac:chgData name="Mohamed Ibissi" userId="90b6f8706c8cb808" providerId="LiveId" clId="{0A7FBB52-A209-4350-A6C8-DCE7C2CB10A7}" dt="2024-11-10T12:58:44.021" v="466" actId="1076"/>
          <ac:spMkLst>
            <pc:docMk/>
            <pc:sldMk cId="3010431797" sldId="2134806591"/>
            <ac:spMk id="2" creationId="{C550E39E-0297-D22D-FC99-74AA2CEF43C9}"/>
          </ac:spMkLst>
        </pc:spChg>
        <pc:spChg chg="mod">
          <ac:chgData name="Mohamed Ibissi" userId="90b6f8706c8cb808" providerId="LiveId" clId="{0A7FBB52-A209-4350-A6C8-DCE7C2CB10A7}" dt="2024-11-10T13:34:29.473" v="704" actId="20577"/>
          <ac:spMkLst>
            <pc:docMk/>
            <pc:sldMk cId="3010431797" sldId="2134806591"/>
            <ac:spMk id="3" creationId="{5E6D9EE0-96FD-0340-C4AC-53DAF75F1E9B}"/>
          </ac:spMkLst>
        </pc:spChg>
        <pc:spChg chg="del">
          <ac:chgData name="Mohamed Ibissi" userId="90b6f8706c8cb808" providerId="LiveId" clId="{0A7FBB52-A209-4350-A6C8-DCE7C2CB10A7}" dt="2024-11-10T12:58:35.580" v="465" actId="478"/>
          <ac:spMkLst>
            <pc:docMk/>
            <pc:sldMk cId="3010431797" sldId="2134806591"/>
            <ac:spMk id="6" creationId="{0DFF525C-C0C2-D3AF-316A-452BBB481243}"/>
          </ac:spMkLst>
        </pc:spChg>
        <pc:spChg chg="mod">
          <ac:chgData name="Mohamed Ibissi" userId="90b6f8706c8cb808" providerId="LiveId" clId="{0A7FBB52-A209-4350-A6C8-DCE7C2CB10A7}" dt="2024-11-10T12:59:15.654" v="473" actId="20577"/>
          <ac:spMkLst>
            <pc:docMk/>
            <pc:sldMk cId="3010431797" sldId="2134806591"/>
            <ac:spMk id="7" creationId="{4FF8869B-D0D3-9B70-7054-511E26818B6E}"/>
          </ac:spMkLst>
        </pc:spChg>
        <pc:spChg chg="mod">
          <ac:chgData name="Mohamed Ibissi" userId="90b6f8706c8cb808" providerId="LiveId" clId="{0A7FBB52-A209-4350-A6C8-DCE7C2CB10A7}" dt="2024-11-10T13:23:59.780" v="480" actId="1037"/>
          <ac:spMkLst>
            <pc:docMk/>
            <pc:sldMk cId="3010431797" sldId="2134806591"/>
            <ac:spMk id="8" creationId="{686A724F-6EE4-0BB7-D373-C6A7A3F078E5}"/>
          </ac:spMkLst>
        </pc:spChg>
        <pc:spChg chg="add mod">
          <ac:chgData name="Mohamed Ibissi" userId="90b6f8706c8cb808" providerId="LiveId" clId="{0A7FBB52-A209-4350-A6C8-DCE7C2CB10A7}" dt="2024-11-10T12:59:01.724" v="472" actId="1036"/>
          <ac:spMkLst>
            <pc:docMk/>
            <pc:sldMk cId="3010431797" sldId="2134806591"/>
            <ac:spMk id="11" creationId="{3D2E632F-8250-98F4-615F-FB9150C50886}"/>
          </ac:spMkLst>
        </pc:spChg>
        <pc:spChg chg="add mod">
          <ac:chgData name="Mohamed Ibissi" userId="90b6f8706c8cb808" providerId="LiveId" clId="{0A7FBB52-A209-4350-A6C8-DCE7C2CB10A7}" dt="2024-11-10T12:58:53.265" v="467"/>
          <ac:spMkLst>
            <pc:docMk/>
            <pc:sldMk cId="3010431797" sldId="2134806591"/>
            <ac:spMk id="12" creationId="{C74E9D21-30CE-17B8-3876-131018E1BBB1}"/>
          </ac:spMkLst>
        </pc:spChg>
        <pc:graphicFrameChg chg="del">
          <ac:chgData name="Mohamed Ibissi" userId="90b6f8706c8cb808" providerId="LiveId" clId="{0A7FBB52-A209-4350-A6C8-DCE7C2CB10A7}" dt="2024-11-11T01:00:26.998" v="2383" actId="478"/>
          <ac:graphicFrameMkLst>
            <pc:docMk/>
            <pc:sldMk cId="3010431797" sldId="2134806591"/>
            <ac:graphicFrameMk id="4" creationId="{46C69CCB-E87E-7288-47AB-03824235586E}"/>
          </ac:graphicFrameMkLst>
        </pc:graphicFrameChg>
        <pc:picChg chg="del">
          <ac:chgData name="Mohamed Ibissi" userId="90b6f8706c8cb808" providerId="LiveId" clId="{0A7FBB52-A209-4350-A6C8-DCE7C2CB10A7}" dt="2024-11-10T12:58:00.261" v="455" actId="478"/>
          <ac:picMkLst>
            <pc:docMk/>
            <pc:sldMk cId="3010431797" sldId="2134806591"/>
            <ac:picMk id="5" creationId="{0FABB224-120C-20EA-A968-5CD83206CB82}"/>
          </ac:picMkLst>
        </pc:picChg>
        <pc:picChg chg="add mod ord">
          <ac:chgData name="Mohamed Ibissi" userId="90b6f8706c8cb808" providerId="LiveId" clId="{0A7FBB52-A209-4350-A6C8-DCE7C2CB10A7}" dt="2024-11-11T01:00:31.377" v="2385" actId="167"/>
          <ac:picMkLst>
            <pc:docMk/>
            <pc:sldMk cId="3010431797" sldId="2134806591"/>
            <ac:picMk id="5" creationId="{42417903-5753-629A-F1B1-67CBBCB8DA10}"/>
          </ac:picMkLst>
        </pc:picChg>
        <pc:picChg chg="add mod ord">
          <ac:chgData name="Mohamed Ibissi" userId="90b6f8706c8cb808" providerId="LiveId" clId="{0A7FBB52-A209-4350-A6C8-DCE7C2CB10A7}" dt="2024-11-10T13:23:32.121" v="475" actId="1076"/>
          <ac:picMkLst>
            <pc:docMk/>
            <pc:sldMk cId="3010431797" sldId="2134806591"/>
            <ac:picMk id="10" creationId="{0DCE05DC-BE79-C74C-E40B-E6F715B28C15}"/>
          </ac:picMkLst>
        </pc:picChg>
      </pc:sldChg>
      <pc:sldChg chg="addSp delSp modSp mod">
        <pc:chgData name="Mohamed Ibissi" userId="90b6f8706c8cb808" providerId="LiveId" clId="{0A7FBB52-A209-4350-A6C8-DCE7C2CB10A7}" dt="2024-11-11T01:01:00.658" v="2391" actId="167"/>
        <pc:sldMkLst>
          <pc:docMk/>
          <pc:sldMk cId="1349712520" sldId="2134806592"/>
        </pc:sldMkLst>
        <pc:spChg chg="mod">
          <ac:chgData name="Mohamed Ibissi" userId="90b6f8706c8cb808" providerId="LiveId" clId="{0A7FBB52-A209-4350-A6C8-DCE7C2CB10A7}" dt="2024-11-10T13:26:25.057" v="527" actId="20577"/>
          <ac:spMkLst>
            <pc:docMk/>
            <pc:sldMk cId="1349712520" sldId="2134806592"/>
            <ac:spMk id="3" creationId="{AF046DAB-2B4F-F734-CC6E-30DD76D84E61}"/>
          </ac:spMkLst>
        </pc:spChg>
        <pc:spChg chg="mod">
          <ac:chgData name="Mohamed Ibissi" userId="90b6f8706c8cb808" providerId="LiveId" clId="{0A7FBB52-A209-4350-A6C8-DCE7C2CB10A7}" dt="2024-11-10T13:26:36.082" v="529" actId="20577"/>
          <ac:spMkLst>
            <pc:docMk/>
            <pc:sldMk cId="1349712520" sldId="2134806592"/>
            <ac:spMk id="12" creationId="{DC7A6772-2901-4C1C-A125-A7E3D51DC78A}"/>
          </ac:spMkLst>
        </pc:spChg>
        <pc:spChg chg="mod">
          <ac:chgData name="Mohamed Ibissi" userId="90b6f8706c8cb808" providerId="LiveId" clId="{0A7FBB52-A209-4350-A6C8-DCE7C2CB10A7}" dt="2024-11-10T13:26:33.361" v="528" actId="20577"/>
          <ac:spMkLst>
            <pc:docMk/>
            <pc:sldMk cId="1349712520" sldId="2134806592"/>
            <ac:spMk id="13" creationId="{5BBB9D44-8731-EEC8-3731-733A92B3D667}"/>
          </ac:spMkLst>
        </pc:spChg>
        <pc:graphicFrameChg chg="del">
          <ac:chgData name="Mohamed Ibissi" userId="90b6f8706c8cb808" providerId="LiveId" clId="{0A7FBB52-A209-4350-A6C8-DCE7C2CB10A7}" dt="2024-11-11T01:00:54.811" v="2389" actId="478"/>
          <ac:graphicFrameMkLst>
            <pc:docMk/>
            <pc:sldMk cId="1349712520" sldId="2134806592"/>
            <ac:graphicFrameMk id="4" creationId="{BBC09D87-0095-69A9-6699-927F3ED9E280}"/>
          </ac:graphicFrameMkLst>
        </pc:graphicFrameChg>
        <pc:picChg chg="del">
          <ac:chgData name="Mohamed Ibissi" userId="90b6f8706c8cb808" providerId="LiveId" clId="{0A7FBB52-A209-4350-A6C8-DCE7C2CB10A7}" dt="2024-11-10T13:25:57.785" v="510" actId="478"/>
          <ac:picMkLst>
            <pc:docMk/>
            <pc:sldMk cId="1349712520" sldId="2134806592"/>
            <ac:picMk id="2" creationId="{04669CA8-F8C4-663A-E955-7B500DFC036C}"/>
          </ac:picMkLst>
        </pc:picChg>
        <pc:picChg chg="add mod ord">
          <ac:chgData name="Mohamed Ibissi" userId="90b6f8706c8cb808" providerId="LiveId" clId="{0A7FBB52-A209-4350-A6C8-DCE7C2CB10A7}" dt="2024-11-11T01:01:00.658" v="2391" actId="167"/>
          <ac:picMkLst>
            <pc:docMk/>
            <pc:sldMk cId="1349712520" sldId="2134806592"/>
            <ac:picMk id="2" creationId="{C74666D0-C188-5507-7742-E97D71BC3A81}"/>
          </ac:picMkLst>
        </pc:picChg>
        <pc:picChg chg="del">
          <ac:chgData name="Mohamed Ibissi" userId="90b6f8706c8cb808" providerId="LiveId" clId="{0A7FBB52-A209-4350-A6C8-DCE7C2CB10A7}" dt="2024-11-10T13:25:59.288" v="511" actId="478"/>
          <ac:picMkLst>
            <pc:docMk/>
            <pc:sldMk cId="1349712520" sldId="2134806592"/>
            <ac:picMk id="8" creationId="{C62D3201-91B0-23E3-151B-962BA8BFBF9F}"/>
          </ac:picMkLst>
        </pc:picChg>
        <pc:picChg chg="del">
          <ac:chgData name="Mohamed Ibissi" userId="90b6f8706c8cb808" providerId="LiveId" clId="{0A7FBB52-A209-4350-A6C8-DCE7C2CB10A7}" dt="2024-11-10T13:26:00.867" v="512" actId="478"/>
          <ac:picMkLst>
            <pc:docMk/>
            <pc:sldMk cId="1349712520" sldId="2134806592"/>
            <ac:picMk id="9" creationId="{B5A64243-2C60-E47C-4A92-859B98880AD0}"/>
          </ac:picMkLst>
        </pc:picChg>
        <pc:picChg chg="add mod">
          <ac:chgData name="Mohamed Ibissi" userId="90b6f8706c8cb808" providerId="LiveId" clId="{0A7FBB52-A209-4350-A6C8-DCE7C2CB10A7}" dt="2024-11-10T13:26:01.383" v="513"/>
          <ac:picMkLst>
            <pc:docMk/>
            <pc:sldMk cId="1349712520" sldId="2134806592"/>
            <ac:picMk id="10" creationId="{FDFFD17C-7793-E0F0-D72D-9BDC3BE94885}"/>
          </ac:picMkLst>
        </pc:picChg>
      </pc:sldChg>
      <pc:sldChg chg="addSp delSp modSp mod">
        <pc:chgData name="Mohamed Ibissi" userId="90b6f8706c8cb808" providerId="LiveId" clId="{0A7FBB52-A209-4350-A6C8-DCE7C2CB10A7}" dt="2024-11-11T01:01:11.540" v="2394" actId="167"/>
        <pc:sldMkLst>
          <pc:docMk/>
          <pc:sldMk cId="1418525123" sldId="2134806593"/>
        </pc:sldMkLst>
        <pc:spChg chg="mod">
          <ac:chgData name="Mohamed Ibissi" userId="90b6f8706c8cb808" providerId="LiveId" clId="{0A7FBB52-A209-4350-A6C8-DCE7C2CB10A7}" dt="2024-11-10T13:27:15.762" v="555" actId="20577"/>
          <ac:spMkLst>
            <pc:docMk/>
            <pc:sldMk cId="1418525123" sldId="2134806593"/>
            <ac:spMk id="3" creationId="{4E95E2FE-9EAE-5072-DDFD-EA98A07F57F4}"/>
          </ac:spMkLst>
        </pc:spChg>
        <pc:spChg chg="mod">
          <ac:chgData name="Mohamed Ibissi" userId="90b6f8706c8cb808" providerId="LiveId" clId="{0A7FBB52-A209-4350-A6C8-DCE7C2CB10A7}" dt="2024-11-10T13:26:51.338" v="534" actId="20577"/>
          <ac:spMkLst>
            <pc:docMk/>
            <pc:sldMk cId="1418525123" sldId="2134806593"/>
            <ac:spMk id="11" creationId="{904DA186-DA89-3957-431A-7864F5773FC6}"/>
          </ac:spMkLst>
        </pc:spChg>
        <pc:spChg chg="mod">
          <ac:chgData name="Mohamed Ibissi" userId="90b6f8706c8cb808" providerId="LiveId" clId="{0A7FBB52-A209-4350-A6C8-DCE7C2CB10A7}" dt="2024-11-10T13:27:19.592" v="556" actId="20577"/>
          <ac:spMkLst>
            <pc:docMk/>
            <pc:sldMk cId="1418525123" sldId="2134806593"/>
            <ac:spMk id="12" creationId="{532E9A03-FBA7-E8EB-06ED-919DB87295E1}"/>
          </ac:spMkLst>
        </pc:spChg>
        <pc:graphicFrameChg chg="del">
          <ac:chgData name="Mohamed Ibissi" userId="90b6f8706c8cb808" providerId="LiveId" clId="{0A7FBB52-A209-4350-A6C8-DCE7C2CB10A7}" dt="2024-11-11T01:01:06.771" v="2392" actId="478"/>
          <ac:graphicFrameMkLst>
            <pc:docMk/>
            <pc:sldMk cId="1418525123" sldId="2134806593"/>
            <ac:graphicFrameMk id="4" creationId="{06A17DA9-210F-C1B5-D015-2DB9D1A2A627}"/>
          </ac:graphicFrameMkLst>
        </pc:graphicFrameChg>
        <pc:picChg chg="del">
          <ac:chgData name="Mohamed Ibissi" userId="90b6f8706c8cb808" providerId="LiveId" clId="{0A7FBB52-A209-4350-A6C8-DCE7C2CB10A7}" dt="2024-11-10T13:26:46.646" v="531" actId="478"/>
          <ac:picMkLst>
            <pc:docMk/>
            <pc:sldMk cId="1418525123" sldId="2134806593"/>
            <ac:picMk id="2" creationId="{22EE2967-96CD-DEF0-BF93-DC460F4F363E}"/>
          </ac:picMkLst>
        </pc:picChg>
        <pc:picChg chg="add mod ord">
          <ac:chgData name="Mohamed Ibissi" userId="90b6f8706c8cb808" providerId="LiveId" clId="{0A7FBB52-A209-4350-A6C8-DCE7C2CB10A7}" dt="2024-11-11T01:01:11.540" v="2394" actId="167"/>
          <ac:picMkLst>
            <pc:docMk/>
            <pc:sldMk cId="1418525123" sldId="2134806593"/>
            <ac:picMk id="2" creationId="{ADC05E8A-E11F-0F83-C6DB-DEA41F0EF399}"/>
          </ac:picMkLst>
        </pc:picChg>
        <pc:picChg chg="del">
          <ac:chgData name="Mohamed Ibissi" userId="90b6f8706c8cb808" providerId="LiveId" clId="{0A7FBB52-A209-4350-A6C8-DCE7C2CB10A7}" dt="2024-11-10T13:26:45.111" v="530" actId="478"/>
          <ac:picMkLst>
            <pc:docMk/>
            <pc:sldMk cId="1418525123" sldId="2134806593"/>
            <ac:picMk id="8" creationId="{CC0C982B-523A-3556-3A0F-BD19AEA6393C}"/>
          </ac:picMkLst>
        </pc:picChg>
        <pc:picChg chg="del">
          <ac:chgData name="Mohamed Ibissi" userId="90b6f8706c8cb808" providerId="LiveId" clId="{0A7FBB52-A209-4350-A6C8-DCE7C2CB10A7}" dt="2024-11-10T13:26:48.086" v="532" actId="478"/>
          <ac:picMkLst>
            <pc:docMk/>
            <pc:sldMk cId="1418525123" sldId="2134806593"/>
            <ac:picMk id="9" creationId="{22408077-665B-400A-D3DD-3A8081DAEDEB}"/>
          </ac:picMkLst>
        </pc:picChg>
        <pc:picChg chg="add mod">
          <ac:chgData name="Mohamed Ibissi" userId="90b6f8706c8cb808" providerId="LiveId" clId="{0A7FBB52-A209-4350-A6C8-DCE7C2CB10A7}" dt="2024-11-10T13:26:48.659" v="533"/>
          <ac:picMkLst>
            <pc:docMk/>
            <pc:sldMk cId="1418525123" sldId="2134806593"/>
            <ac:picMk id="13" creationId="{4701BFF6-3B48-E496-9C5E-79895151BFC1}"/>
          </ac:picMkLst>
        </pc:picChg>
      </pc:sldChg>
      <pc:sldChg chg="addSp delSp modSp mod">
        <pc:chgData name="Mohamed Ibissi" userId="90b6f8706c8cb808" providerId="LiveId" clId="{0A7FBB52-A209-4350-A6C8-DCE7C2CB10A7}" dt="2024-11-11T01:01:25.691" v="2397" actId="167"/>
        <pc:sldMkLst>
          <pc:docMk/>
          <pc:sldMk cId="806297065" sldId="2134806594"/>
        </pc:sldMkLst>
        <pc:spChg chg="mod">
          <ac:chgData name="Mohamed Ibissi" userId="90b6f8706c8cb808" providerId="LiveId" clId="{0A7FBB52-A209-4350-A6C8-DCE7C2CB10A7}" dt="2024-11-10T13:27:44.674" v="563" actId="20577"/>
          <ac:spMkLst>
            <pc:docMk/>
            <pc:sldMk cId="806297065" sldId="2134806594"/>
            <ac:spMk id="3" creationId="{C5B019AA-97DD-775E-EB48-3CB00C1D43CA}"/>
          </ac:spMkLst>
        </pc:spChg>
        <pc:spChg chg="mod">
          <ac:chgData name="Mohamed Ibissi" userId="90b6f8706c8cb808" providerId="LiveId" clId="{0A7FBB52-A209-4350-A6C8-DCE7C2CB10A7}" dt="2024-11-10T13:27:47.940" v="564" actId="20577"/>
          <ac:spMkLst>
            <pc:docMk/>
            <pc:sldMk cId="806297065" sldId="2134806594"/>
            <ac:spMk id="12" creationId="{29B4475B-A31A-BA79-3AA3-3D22A4B9A108}"/>
          </ac:spMkLst>
        </pc:spChg>
        <pc:spChg chg="mod">
          <ac:chgData name="Mohamed Ibissi" userId="90b6f8706c8cb808" providerId="LiveId" clId="{0A7FBB52-A209-4350-A6C8-DCE7C2CB10A7}" dt="2024-11-10T13:27:50.474" v="565" actId="20577"/>
          <ac:spMkLst>
            <pc:docMk/>
            <pc:sldMk cId="806297065" sldId="2134806594"/>
            <ac:spMk id="14" creationId="{031F1899-1F64-90FD-1D97-0BAAC8B62261}"/>
          </ac:spMkLst>
        </pc:spChg>
        <pc:graphicFrameChg chg="del">
          <ac:chgData name="Mohamed Ibissi" userId="90b6f8706c8cb808" providerId="LiveId" clId="{0A7FBB52-A209-4350-A6C8-DCE7C2CB10A7}" dt="2024-11-11T01:01:21.045" v="2395" actId="478"/>
          <ac:graphicFrameMkLst>
            <pc:docMk/>
            <pc:sldMk cId="806297065" sldId="2134806594"/>
            <ac:graphicFrameMk id="4" creationId="{7EAB793D-BFA8-4715-121F-D79D425A4894}"/>
          </ac:graphicFrameMkLst>
        </pc:graphicFrameChg>
        <pc:picChg chg="add mod ord">
          <ac:chgData name="Mohamed Ibissi" userId="90b6f8706c8cb808" providerId="LiveId" clId="{0A7FBB52-A209-4350-A6C8-DCE7C2CB10A7}" dt="2024-11-11T01:01:25.691" v="2397" actId="167"/>
          <ac:picMkLst>
            <pc:docMk/>
            <pc:sldMk cId="806297065" sldId="2134806594"/>
            <ac:picMk id="2" creationId="{2A72389C-613A-6011-163A-7FAD1CDD9B21}"/>
          </ac:picMkLst>
        </pc:picChg>
        <pc:picChg chg="del">
          <ac:chgData name="Mohamed Ibissi" userId="90b6f8706c8cb808" providerId="LiveId" clId="{0A7FBB52-A209-4350-A6C8-DCE7C2CB10A7}" dt="2024-11-10T13:27:27.401" v="558" actId="478"/>
          <ac:picMkLst>
            <pc:docMk/>
            <pc:sldMk cId="806297065" sldId="2134806594"/>
            <ac:picMk id="2" creationId="{C2B86557-72E1-68D6-EF1A-3B1F822ABE42}"/>
          </ac:picMkLst>
        </pc:picChg>
        <pc:picChg chg="del">
          <ac:chgData name="Mohamed Ibissi" userId="90b6f8706c8cb808" providerId="LiveId" clId="{0A7FBB52-A209-4350-A6C8-DCE7C2CB10A7}" dt="2024-11-10T13:27:25.893" v="557" actId="478"/>
          <ac:picMkLst>
            <pc:docMk/>
            <pc:sldMk cId="806297065" sldId="2134806594"/>
            <ac:picMk id="8" creationId="{FF1B57FA-1DF2-5643-1B22-BF8649CBD2ED}"/>
          </ac:picMkLst>
        </pc:picChg>
        <pc:picChg chg="del">
          <ac:chgData name="Mohamed Ibissi" userId="90b6f8706c8cb808" providerId="LiveId" clId="{0A7FBB52-A209-4350-A6C8-DCE7C2CB10A7}" dt="2024-11-10T13:27:28.975" v="559" actId="478"/>
          <ac:picMkLst>
            <pc:docMk/>
            <pc:sldMk cId="806297065" sldId="2134806594"/>
            <ac:picMk id="9" creationId="{70B3B91A-80AB-DAD8-1945-5D6045FDDCAA}"/>
          </ac:picMkLst>
        </pc:picChg>
        <pc:picChg chg="add mod">
          <ac:chgData name="Mohamed Ibissi" userId="90b6f8706c8cb808" providerId="LiveId" clId="{0A7FBB52-A209-4350-A6C8-DCE7C2CB10A7}" dt="2024-11-10T13:27:29.646" v="560"/>
          <ac:picMkLst>
            <pc:docMk/>
            <pc:sldMk cId="806297065" sldId="2134806594"/>
            <ac:picMk id="10" creationId="{60FBA946-24B3-532D-5B5F-54BEF02164F2}"/>
          </ac:picMkLst>
        </pc:picChg>
      </pc:sldChg>
      <pc:sldChg chg="del">
        <pc:chgData name="Mohamed Ibissi" userId="90b6f8706c8cb808" providerId="LiveId" clId="{0A7FBB52-A209-4350-A6C8-DCE7C2CB10A7}" dt="2024-11-10T13:27:59.719" v="566" actId="47"/>
        <pc:sldMkLst>
          <pc:docMk/>
          <pc:sldMk cId="3484573830" sldId="2134806595"/>
        </pc:sldMkLst>
      </pc:sldChg>
      <pc:sldChg chg="del">
        <pc:chgData name="Mohamed Ibissi" userId="90b6f8706c8cb808" providerId="LiveId" clId="{0A7FBB52-A209-4350-A6C8-DCE7C2CB10A7}" dt="2024-11-10T13:28:01.330" v="567" actId="47"/>
        <pc:sldMkLst>
          <pc:docMk/>
          <pc:sldMk cId="2916162898" sldId="2134806596"/>
        </pc:sldMkLst>
      </pc:sldChg>
      <pc:sldChg chg="del">
        <pc:chgData name="Mohamed Ibissi" userId="90b6f8706c8cb808" providerId="LiveId" clId="{0A7FBB52-A209-4350-A6C8-DCE7C2CB10A7}" dt="2024-11-10T13:28:02.158" v="568" actId="47"/>
        <pc:sldMkLst>
          <pc:docMk/>
          <pc:sldMk cId="3131708099" sldId="2134806597"/>
        </pc:sldMkLst>
      </pc:sldChg>
      <pc:sldChg chg="del">
        <pc:chgData name="Mohamed Ibissi" userId="90b6f8706c8cb808" providerId="LiveId" clId="{0A7FBB52-A209-4350-A6C8-DCE7C2CB10A7}" dt="2024-11-10T13:28:04.300" v="569" actId="47"/>
        <pc:sldMkLst>
          <pc:docMk/>
          <pc:sldMk cId="1432504563" sldId="2134806598"/>
        </pc:sldMkLst>
      </pc:sldChg>
      <pc:sldChg chg="addSp delSp modSp mod">
        <pc:chgData name="Mohamed Ibissi" userId="90b6f8706c8cb808" providerId="LiveId" clId="{0A7FBB52-A209-4350-A6C8-DCE7C2CB10A7}" dt="2024-11-11T01:02:40.207" v="2408" actId="14100"/>
        <pc:sldMkLst>
          <pc:docMk/>
          <pc:sldMk cId="2567300093" sldId="2134806599"/>
        </pc:sldMkLst>
        <pc:spChg chg="mod">
          <ac:chgData name="Mohamed Ibissi" userId="90b6f8706c8cb808" providerId="LiveId" clId="{0A7FBB52-A209-4350-A6C8-DCE7C2CB10A7}" dt="2024-11-10T13:29:08.087" v="574" actId="20577"/>
          <ac:spMkLst>
            <pc:docMk/>
            <pc:sldMk cId="2567300093" sldId="2134806599"/>
            <ac:spMk id="2" creationId="{C8A9F3F5-AE20-31AB-097D-B2397ADEEF57}"/>
          </ac:spMkLst>
        </pc:spChg>
        <pc:spChg chg="mod">
          <ac:chgData name="Mohamed Ibissi" userId="90b6f8706c8cb808" providerId="LiveId" clId="{0A7FBB52-A209-4350-A6C8-DCE7C2CB10A7}" dt="2024-11-11T01:02:40.207" v="2408" actId="14100"/>
          <ac:spMkLst>
            <pc:docMk/>
            <pc:sldMk cId="2567300093" sldId="2134806599"/>
            <ac:spMk id="4" creationId="{3576A897-8713-E18E-6052-488ABF2ABD76}"/>
          </ac:spMkLst>
        </pc:spChg>
        <pc:graphicFrameChg chg="del">
          <ac:chgData name="Mohamed Ibissi" userId="90b6f8706c8cb808" providerId="LiveId" clId="{0A7FBB52-A209-4350-A6C8-DCE7C2CB10A7}" dt="2024-11-11T01:01:31.196" v="2398" actId="478"/>
          <ac:graphicFrameMkLst>
            <pc:docMk/>
            <pc:sldMk cId="2567300093" sldId="2134806599"/>
            <ac:graphicFrameMk id="7" creationId="{39FA2106-E901-6300-044C-10FCE7528058}"/>
          </ac:graphicFrameMkLst>
        </pc:graphicFrameChg>
        <pc:picChg chg="add mod ord">
          <ac:chgData name="Mohamed Ibissi" userId="90b6f8706c8cb808" providerId="LiveId" clId="{0A7FBB52-A209-4350-A6C8-DCE7C2CB10A7}" dt="2024-11-11T01:01:36.605" v="2400" actId="167"/>
          <ac:picMkLst>
            <pc:docMk/>
            <pc:sldMk cId="2567300093" sldId="2134806599"/>
            <ac:picMk id="3" creationId="{1B37C6EC-8D18-9CE9-C49C-247C7BF622FF}"/>
          </ac:picMkLst>
        </pc:picChg>
        <pc:picChg chg="mod">
          <ac:chgData name="Mohamed Ibissi" userId="90b6f8706c8cb808" providerId="LiveId" clId="{0A7FBB52-A209-4350-A6C8-DCE7C2CB10A7}" dt="2024-11-11T01:02:32.329" v="2407" actId="14100"/>
          <ac:picMkLst>
            <pc:docMk/>
            <pc:sldMk cId="2567300093" sldId="2134806599"/>
            <ac:picMk id="8" creationId="{7363A7AC-28A7-DD2D-27EF-7CDCBD11E5D1}"/>
          </ac:picMkLst>
        </pc:picChg>
      </pc:sldChg>
      <pc:sldChg chg="addSp delSp modSp mod">
        <pc:chgData name="Mohamed Ibissi" userId="90b6f8706c8cb808" providerId="LiveId" clId="{0A7FBB52-A209-4350-A6C8-DCE7C2CB10A7}" dt="2024-11-12T15:08:18.799" v="2707"/>
        <pc:sldMkLst>
          <pc:docMk/>
          <pc:sldMk cId="161042347" sldId="2134806600"/>
        </pc:sldMkLst>
        <pc:spChg chg="mod">
          <ac:chgData name="Mohamed Ibissi" userId="90b6f8706c8cb808" providerId="LiveId" clId="{0A7FBB52-A209-4350-A6C8-DCE7C2CB10A7}" dt="2024-11-12T15:08:18.799" v="2707"/>
          <ac:spMkLst>
            <pc:docMk/>
            <pc:sldMk cId="161042347" sldId="2134806600"/>
            <ac:spMk id="2" creationId="{3BB5D9F5-3802-0634-FB8B-CF69D7EFD182}"/>
          </ac:spMkLst>
        </pc:spChg>
        <pc:spChg chg="mod">
          <ac:chgData name="Mohamed Ibissi" userId="90b6f8706c8cb808" providerId="LiveId" clId="{0A7FBB52-A209-4350-A6C8-DCE7C2CB10A7}" dt="2024-11-10T13:29:49.630" v="584" actId="1076"/>
          <ac:spMkLst>
            <pc:docMk/>
            <pc:sldMk cId="161042347" sldId="2134806600"/>
            <ac:spMk id="3" creationId="{F6B95496-A4C8-62B2-5254-54544781C774}"/>
          </ac:spMkLst>
        </pc:spChg>
        <pc:spChg chg="mod">
          <ac:chgData name="Mohamed Ibissi" userId="90b6f8706c8cb808" providerId="LiveId" clId="{0A7FBB52-A209-4350-A6C8-DCE7C2CB10A7}" dt="2024-11-10T13:29:46.583" v="583" actId="14100"/>
          <ac:spMkLst>
            <pc:docMk/>
            <pc:sldMk cId="161042347" sldId="2134806600"/>
            <ac:spMk id="4" creationId="{36290ED1-5F21-BB78-CFF9-D6BD548E3645}"/>
          </ac:spMkLst>
        </pc:spChg>
        <pc:graphicFrameChg chg="del">
          <ac:chgData name="Mohamed Ibissi" userId="90b6f8706c8cb808" providerId="LiveId" clId="{0A7FBB52-A209-4350-A6C8-DCE7C2CB10A7}" dt="2024-11-11T01:02:03.264" v="2403" actId="478"/>
          <ac:graphicFrameMkLst>
            <pc:docMk/>
            <pc:sldMk cId="161042347" sldId="2134806600"/>
            <ac:graphicFrameMk id="7" creationId="{D8CE1E5F-A353-7996-9D2B-99396F4D00C5}"/>
          </ac:graphicFrameMkLst>
        </pc:graphicFrameChg>
        <pc:picChg chg="add mod ord">
          <ac:chgData name="Mohamed Ibissi" userId="90b6f8706c8cb808" providerId="LiveId" clId="{0A7FBB52-A209-4350-A6C8-DCE7C2CB10A7}" dt="2024-11-11T01:02:24.856" v="2406" actId="14100"/>
          <ac:picMkLst>
            <pc:docMk/>
            <pc:sldMk cId="161042347" sldId="2134806600"/>
            <ac:picMk id="5" creationId="{126ABA7C-B56D-B547-4CA7-FB0A65B66EA8}"/>
          </ac:picMkLst>
        </pc:picChg>
        <pc:picChg chg="add mod ord">
          <ac:chgData name="Mohamed Ibissi" userId="90b6f8706c8cb808" providerId="LiveId" clId="{0A7FBB52-A209-4350-A6C8-DCE7C2CB10A7}" dt="2024-11-11T01:02:08.034" v="2405" actId="167"/>
          <ac:picMkLst>
            <pc:docMk/>
            <pc:sldMk cId="161042347" sldId="2134806600"/>
            <ac:picMk id="8" creationId="{8EE61EB8-70B0-637D-6B3E-0758C2B695AA}"/>
          </ac:picMkLst>
        </pc:picChg>
        <pc:picChg chg="del">
          <ac:chgData name="Mohamed Ibissi" userId="90b6f8706c8cb808" providerId="LiveId" clId="{0A7FBB52-A209-4350-A6C8-DCE7C2CB10A7}" dt="2024-11-10T13:29:17.672" v="575" actId="478"/>
          <ac:picMkLst>
            <pc:docMk/>
            <pc:sldMk cId="161042347" sldId="2134806600"/>
            <ac:picMk id="8" creationId="{D11CA1F8-6F9F-EF3F-6A23-D2F1BFFEDB00}"/>
          </ac:picMkLst>
        </pc:picChg>
      </pc:sldChg>
      <pc:sldChg chg="addSp delSp modSp add del mod">
        <pc:chgData name="Mohamed Ibissi" userId="90b6f8706c8cb808" providerId="LiveId" clId="{0A7FBB52-A209-4350-A6C8-DCE7C2CB10A7}" dt="2024-11-12T15:08:24.600" v="2708" actId="47"/>
        <pc:sldMkLst>
          <pc:docMk/>
          <pc:sldMk cId="3698259618" sldId="2134806601"/>
        </pc:sldMkLst>
        <pc:graphicFrameChg chg="del">
          <ac:chgData name="Mohamed Ibissi" userId="90b6f8706c8cb808" providerId="LiveId" clId="{0A7FBB52-A209-4350-A6C8-DCE7C2CB10A7}" dt="2024-11-11T01:02:56.693" v="2409" actId="478"/>
          <ac:graphicFrameMkLst>
            <pc:docMk/>
            <pc:sldMk cId="3698259618" sldId="2134806601"/>
            <ac:graphicFrameMk id="4" creationId="{520667CC-3042-2FBC-52D2-BF24998AD589}"/>
          </ac:graphicFrameMkLst>
        </pc:graphicFrameChg>
        <pc:picChg chg="add mod ord">
          <ac:chgData name="Mohamed Ibissi" userId="90b6f8706c8cb808" providerId="LiveId" clId="{0A7FBB52-A209-4350-A6C8-DCE7C2CB10A7}" dt="2024-11-11T01:03:00.986" v="2411" actId="167"/>
          <ac:picMkLst>
            <pc:docMk/>
            <pc:sldMk cId="3698259618" sldId="2134806601"/>
            <ac:picMk id="5" creationId="{B89C8BD7-1AA3-CDD3-1A8F-61288AA25517}"/>
          </ac:picMkLst>
        </pc:picChg>
      </pc:sldChg>
      <pc:sldChg chg="addSp delSp modSp add del mod">
        <pc:chgData name="Mohamed Ibissi" userId="90b6f8706c8cb808" providerId="LiveId" clId="{0A7FBB52-A209-4350-A6C8-DCE7C2CB10A7}" dt="2024-11-12T15:08:26.116" v="2709" actId="47"/>
        <pc:sldMkLst>
          <pc:docMk/>
          <pc:sldMk cId="1730859043" sldId="2134806602"/>
        </pc:sldMkLst>
        <pc:graphicFrameChg chg="del">
          <ac:chgData name="Mohamed Ibissi" userId="90b6f8706c8cb808" providerId="LiveId" clId="{0A7FBB52-A209-4350-A6C8-DCE7C2CB10A7}" dt="2024-11-11T01:03:07.358" v="2412" actId="478"/>
          <ac:graphicFrameMkLst>
            <pc:docMk/>
            <pc:sldMk cId="1730859043" sldId="2134806602"/>
            <ac:graphicFrameMk id="4" creationId="{DF062F57-A4DD-8D32-7A88-FA1617888927}"/>
          </ac:graphicFrameMkLst>
        </pc:graphicFrameChg>
        <pc:picChg chg="add mod ord">
          <ac:chgData name="Mohamed Ibissi" userId="90b6f8706c8cb808" providerId="LiveId" clId="{0A7FBB52-A209-4350-A6C8-DCE7C2CB10A7}" dt="2024-11-11T01:03:12.017" v="2414" actId="167"/>
          <ac:picMkLst>
            <pc:docMk/>
            <pc:sldMk cId="1730859043" sldId="2134806602"/>
            <ac:picMk id="3" creationId="{558876BD-6953-55ED-3810-6E31F53A1141}"/>
          </ac:picMkLst>
        </pc:picChg>
      </pc:sldChg>
      <pc:sldChg chg="addSp delSp modSp add del mod">
        <pc:chgData name="Mohamed Ibissi" userId="90b6f8706c8cb808" providerId="LiveId" clId="{0A7FBB52-A209-4350-A6C8-DCE7C2CB10A7}" dt="2024-11-12T15:08:27.241" v="2710" actId="47"/>
        <pc:sldMkLst>
          <pc:docMk/>
          <pc:sldMk cId="1627125855" sldId="2134806603"/>
        </pc:sldMkLst>
        <pc:graphicFrameChg chg="del">
          <ac:chgData name="Mohamed Ibissi" userId="90b6f8706c8cb808" providerId="LiveId" clId="{0A7FBB52-A209-4350-A6C8-DCE7C2CB10A7}" dt="2024-11-11T01:03:16.738" v="2415" actId="478"/>
          <ac:graphicFrameMkLst>
            <pc:docMk/>
            <pc:sldMk cId="1627125855" sldId="2134806603"/>
            <ac:graphicFrameMk id="4" creationId="{EBF17BC5-8FF1-4776-B6E4-C99D3A784A31}"/>
          </ac:graphicFrameMkLst>
        </pc:graphicFrameChg>
        <pc:picChg chg="add mod ord">
          <ac:chgData name="Mohamed Ibissi" userId="90b6f8706c8cb808" providerId="LiveId" clId="{0A7FBB52-A209-4350-A6C8-DCE7C2CB10A7}" dt="2024-11-11T01:03:21.506" v="2417" actId="167"/>
          <ac:picMkLst>
            <pc:docMk/>
            <pc:sldMk cId="1627125855" sldId="2134806603"/>
            <ac:picMk id="5" creationId="{CF72BDC4-C054-99DD-1A02-01F90400C6D7}"/>
          </ac:picMkLst>
        </pc:picChg>
      </pc:sldChg>
      <pc:sldChg chg="addSp delSp modSp mod delAnim modAnim">
        <pc:chgData name="Mohamed Ibissi" userId="90b6f8706c8cb808" providerId="LiveId" clId="{0A7FBB52-A209-4350-A6C8-DCE7C2CB10A7}" dt="2024-11-11T01:04:10.517" v="2426" actId="14100"/>
        <pc:sldMkLst>
          <pc:docMk/>
          <pc:sldMk cId="747686193" sldId="2134806604"/>
        </pc:sldMkLst>
        <pc:spChg chg="mod">
          <ac:chgData name="Mohamed Ibissi" userId="90b6f8706c8cb808" providerId="LiveId" clId="{0A7FBB52-A209-4350-A6C8-DCE7C2CB10A7}" dt="2024-11-10T13:35:14.854" v="726" actId="20577"/>
          <ac:spMkLst>
            <pc:docMk/>
            <pc:sldMk cId="747686193" sldId="2134806604"/>
            <ac:spMk id="3" creationId="{8830412E-AEF6-1F0D-67B7-9B2FA3133E4B}"/>
          </ac:spMkLst>
        </pc:spChg>
        <pc:spChg chg="add mod">
          <ac:chgData name="Mohamed Ibissi" userId="90b6f8706c8cb808" providerId="LiveId" clId="{0A7FBB52-A209-4350-A6C8-DCE7C2CB10A7}" dt="2024-11-10T13:31:25.246" v="634"/>
          <ac:spMkLst>
            <pc:docMk/>
            <pc:sldMk cId="747686193" sldId="2134806604"/>
            <ac:spMk id="5" creationId="{4CBC4D9D-8B8C-9CFD-3823-4C3B69B0896A}"/>
          </ac:spMkLst>
        </pc:spChg>
        <pc:spChg chg="add mod">
          <ac:chgData name="Mohamed Ibissi" userId="90b6f8706c8cb808" providerId="LiveId" clId="{0A7FBB52-A209-4350-A6C8-DCE7C2CB10A7}" dt="2024-11-10T13:32:30.280" v="658" actId="1037"/>
          <ac:spMkLst>
            <pc:docMk/>
            <pc:sldMk cId="747686193" sldId="2134806604"/>
            <ac:spMk id="6" creationId="{E7024E01-491C-7421-5F52-860DF2F4BE69}"/>
          </ac:spMkLst>
        </pc:spChg>
        <pc:spChg chg="del">
          <ac:chgData name="Mohamed Ibissi" userId="90b6f8706c8cb808" providerId="LiveId" clId="{0A7FBB52-A209-4350-A6C8-DCE7C2CB10A7}" dt="2024-11-10T13:31:24.426" v="633" actId="478"/>
          <ac:spMkLst>
            <pc:docMk/>
            <pc:sldMk cId="747686193" sldId="2134806604"/>
            <ac:spMk id="10" creationId="{7FCF6EE9-2CED-9A48-05EB-4180A93DDD13}"/>
          </ac:spMkLst>
        </pc:spChg>
        <pc:graphicFrameChg chg="del">
          <ac:chgData name="Mohamed Ibissi" userId="90b6f8706c8cb808" providerId="LiveId" clId="{0A7FBB52-A209-4350-A6C8-DCE7C2CB10A7}" dt="2024-11-11T01:03:28.259" v="2418" actId="478"/>
          <ac:graphicFrameMkLst>
            <pc:docMk/>
            <pc:sldMk cId="747686193" sldId="2134806604"/>
            <ac:graphicFrameMk id="4" creationId="{DF2BCB11-B038-BE6D-B2CF-C66BD2CCC517}"/>
          </ac:graphicFrameMkLst>
        </pc:graphicFrameChg>
        <pc:picChg chg="add mod">
          <ac:chgData name="Mohamed Ibissi" userId="90b6f8706c8cb808" providerId="LiveId" clId="{0A7FBB52-A209-4350-A6C8-DCE7C2CB10A7}" dt="2024-11-11T01:04:10.517" v="2426" actId="14100"/>
          <ac:picMkLst>
            <pc:docMk/>
            <pc:sldMk cId="747686193" sldId="2134806604"/>
            <ac:picMk id="2" creationId="{9DA71850-CE85-F575-CD5D-F54195523DB6}"/>
          </ac:picMkLst>
        </pc:picChg>
        <pc:picChg chg="add mod ord">
          <ac:chgData name="Mohamed Ibissi" userId="90b6f8706c8cb808" providerId="LiveId" clId="{0A7FBB52-A209-4350-A6C8-DCE7C2CB10A7}" dt="2024-11-11T01:03:32.231" v="2420" actId="167"/>
          <ac:picMkLst>
            <pc:docMk/>
            <pc:sldMk cId="747686193" sldId="2134806604"/>
            <ac:picMk id="7" creationId="{50B3A5D3-AAC3-0BD9-3B56-C2973F9D2B66}"/>
          </ac:picMkLst>
        </pc:picChg>
        <pc:picChg chg="del">
          <ac:chgData name="Mohamed Ibissi" userId="90b6f8706c8cb808" providerId="LiveId" clId="{0A7FBB52-A209-4350-A6C8-DCE7C2CB10A7}" dt="2024-11-10T13:31:24.426" v="633" actId="478"/>
          <ac:picMkLst>
            <pc:docMk/>
            <pc:sldMk cId="747686193" sldId="2134806604"/>
            <ac:picMk id="8" creationId="{448D78E0-4C8E-7848-6C72-9905451AF3C0}"/>
          </ac:picMkLst>
        </pc:picChg>
        <pc:picChg chg="del">
          <ac:chgData name="Mohamed Ibissi" userId="90b6f8706c8cb808" providerId="LiveId" clId="{0A7FBB52-A209-4350-A6C8-DCE7C2CB10A7}" dt="2024-11-10T13:31:24.426" v="633" actId="478"/>
          <ac:picMkLst>
            <pc:docMk/>
            <pc:sldMk cId="747686193" sldId="2134806604"/>
            <ac:picMk id="11" creationId="{9F78B546-26CA-4B06-94FC-DAD9BB0B69F1}"/>
          </ac:picMkLst>
        </pc:picChg>
      </pc:sldChg>
      <pc:sldChg chg="addSp delSp modSp mod modAnim">
        <pc:chgData name="Mohamed Ibissi" userId="90b6f8706c8cb808" providerId="LiveId" clId="{0A7FBB52-A209-4350-A6C8-DCE7C2CB10A7}" dt="2024-11-12T15:08:35.839" v="2712"/>
        <pc:sldMkLst>
          <pc:docMk/>
          <pc:sldMk cId="1709510636" sldId="2134806605"/>
        </pc:sldMkLst>
        <pc:spChg chg="mod">
          <ac:chgData name="Mohamed Ibissi" userId="90b6f8706c8cb808" providerId="LiveId" clId="{0A7FBB52-A209-4350-A6C8-DCE7C2CB10A7}" dt="2024-11-12T15:08:35.839" v="2712"/>
          <ac:spMkLst>
            <pc:docMk/>
            <pc:sldMk cId="1709510636" sldId="2134806605"/>
            <ac:spMk id="2" creationId="{57484EE8-EC27-B738-6C8C-97E52BA593EA}"/>
          </ac:spMkLst>
        </pc:spChg>
        <pc:spChg chg="del">
          <ac:chgData name="Mohamed Ibissi" userId="90b6f8706c8cb808" providerId="LiveId" clId="{0A7FBB52-A209-4350-A6C8-DCE7C2CB10A7}" dt="2024-11-10T13:35:30.314" v="727" actId="478"/>
          <ac:spMkLst>
            <pc:docMk/>
            <pc:sldMk cId="1709510636" sldId="2134806605"/>
            <ac:spMk id="3" creationId="{52A3F609-7F80-DC0F-4908-6508F609F99D}"/>
          </ac:spMkLst>
        </pc:spChg>
        <pc:spChg chg="del">
          <ac:chgData name="Mohamed Ibissi" userId="90b6f8706c8cb808" providerId="LiveId" clId="{0A7FBB52-A209-4350-A6C8-DCE7C2CB10A7}" dt="2024-11-10T13:35:30.314" v="727" actId="478"/>
          <ac:spMkLst>
            <pc:docMk/>
            <pc:sldMk cId="1709510636" sldId="2134806605"/>
            <ac:spMk id="4" creationId="{D752E6FA-F113-E6DC-D351-134C5A8394CA}"/>
          </ac:spMkLst>
        </pc:spChg>
        <pc:spChg chg="add del mod">
          <ac:chgData name="Mohamed Ibissi" userId="90b6f8706c8cb808" providerId="LiveId" clId="{0A7FBB52-A209-4350-A6C8-DCE7C2CB10A7}" dt="2024-11-10T13:35:32.395" v="729" actId="478"/>
          <ac:spMkLst>
            <pc:docMk/>
            <pc:sldMk cId="1709510636" sldId="2134806605"/>
            <ac:spMk id="9" creationId="{73F8ADFA-C3AD-E148-9DC1-625D0FEA49AB}"/>
          </ac:spMkLst>
        </pc:spChg>
        <pc:spChg chg="add mod">
          <ac:chgData name="Mohamed Ibissi" userId="90b6f8706c8cb808" providerId="LiveId" clId="{0A7FBB52-A209-4350-A6C8-DCE7C2CB10A7}" dt="2024-11-10T13:36:43.078" v="772" actId="1076"/>
          <ac:spMkLst>
            <pc:docMk/>
            <pc:sldMk cId="1709510636" sldId="2134806605"/>
            <ac:spMk id="11" creationId="{51CA0528-E7B1-FD9B-71DE-7D7881A65246}"/>
          </ac:spMkLst>
        </pc:spChg>
        <pc:spChg chg="add mod">
          <ac:chgData name="Mohamed Ibissi" userId="90b6f8706c8cb808" providerId="LiveId" clId="{0A7FBB52-A209-4350-A6C8-DCE7C2CB10A7}" dt="2024-11-10T13:35:52.271" v="730"/>
          <ac:spMkLst>
            <pc:docMk/>
            <pc:sldMk cId="1709510636" sldId="2134806605"/>
            <ac:spMk id="12" creationId="{90679FDE-B6B8-A7FD-185F-83725A41411D}"/>
          </ac:spMkLst>
        </pc:spChg>
        <pc:spChg chg="add mod">
          <ac:chgData name="Mohamed Ibissi" userId="90b6f8706c8cb808" providerId="LiveId" clId="{0A7FBB52-A209-4350-A6C8-DCE7C2CB10A7}" dt="2024-11-10T13:36:58.983" v="774" actId="1076"/>
          <ac:spMkLst>
            <pc:docMk/>
            <pc:sldMk cId="1709510636" sldId="2134806605"/>
            <ac:spMk id="13" creationId="{6F6378FB-75A9-E114-DCD0-21B53ADE9F0D}"/>
          </ac:spMkLst>
        </pc:spChg>
        <pc:graphicFrameChg chg="del">
          <ac:chgData name="Mohamed Ibissi" userId="90b6f8706c8cb808" providerId="LiveId" clId="{0A7FBB52-A209-4350-A6C8-DCE7C2CB10A7}" dt="2024-11-11T01:03:40.314" v="2421" actId="478"/>
          <ac:graphicFrameMkLst>
            <pc:docMk/>
            <pc:sldMk cId="1709510636" sldId="2134806605"/>
            <ac:graphicFrameMk id="7" creationId="{0E42813D-9074-0F0C-FE9A-7DFFD1EB19F0}"/>
          </ac:graphicFrameMkLst>
        </pc:graphicFrameChg>
        <pc:picChg chg="add mod ord">
          <ac:chgData name="Mohamed Ibissi" userId="90b6f8706c8cb808" providerId="LiveId" clId="{0A7FBB52-A209-4350-A6C8-DCE7C2CB10A7}" dt="2024-11-11T01:03:45.600" v="2423" actId="167"/>
          <ac:picMkLst>
            <pc:docMk/>
            <pc:sldMk cId="1709510636" sldId="2134806605"/>
            <ac:picMk id="3" creationId="{B53B68A2-957C-B339-B1AA-7F99167A5575}"/>
          </ac:picMkLst>
        </pc:picChg>
        <pc:picChg chg="del">
          <ac:chgData name="Mohamed Ibissi" userId="90b6f8706c8cb808" providerId="LiveId" clId="{0A7FBB52-A209-4350-A6C8-DCE7C2CB10A7}" dt="2024-11-10T13:35:30.314" v="727" actId="478"/>
          <ac:picMkLst>
            <pc:docMk/>
            <pc:sldMk cId="1709510636" sldId="2134806605"/>
            <ac:picMk id="5" creationId="{A41FAE49-13DE-09BA-3FDA-FDB47F98C09A}"/>
          </ac:picMkLst>
        </pc:picChg>
        <pc:picChg chg="del">
          <ac:chgData name="Mohamed Ibissi" userId="90b6f8706c8cb808" providerId="LiveId" clId="{0A7FBB52-A209-4350-A6C8-DCE7C2CB10A7}" dt="2024-11-10T13:35:30.314" v="727" actId="478"/>
          <ac:picMkLst>
            <pc:docMk/>
            <pc:sldMk cId="1709510636" sldId="2134806605"/>
            <ac:picMk id="8" creationId="{5ED673AA-4B37-7DE2-5865-1CA53210B154}"/>
          </ac:picMkLst>
        </pc:picChg>
        <pc:picChg chg="add mod">
          <ac:chgData name="Mohamed Ibissi" userId="90b6f8706c8cb808" providerId="LiveId" clId="{0A7FBB52-A209-4350-A6C8-DCE7C2CB10A7}" dt="2024-11-11T01:04:04.669" v="2425" actId="14100"/>
          <ac:picMkLst>
            <pc:docMk/>
            <pc:sldMk cId="1709510636" sldId="2134806605"/>
            <ac:picMk id="10" creationId="{56042659-7F58-9929-400D-2D64B4DA54E0}"/>
          </ac:picMkLst>
        </pc:picChg>
      </pc:sldChg>
      <pc:sldChg chg="addSp delSp modSp add del mod">
        <pc:chgData name="Mohamed Ibissi" userId="90b6f8706c8cb808" providerId="LiveId" clId="{0A7FBB52-A209-4350-A6C8-DCE7C2CB10A7}" dt="2024-11-12T15:08:39.498" v="2713" actId="47"/>
        <pc:sldMkLst>
          <pc:docMk/>
          <pc:sldMk cId="3590970086" sldId="2134806606"/>
        </pc:sldMkLst>
        <pc:graphicFrameChg chg="del">
          <ac:chgData name="Mohamed Ibissi" userId="90b6f8706c8cb808" providerId="LiveId" clId="{0A7FBB52-A209-4350-A6C8-DCE7C2CB10A7}" dt="2024-11-11T01:04:22.573" v="2427" actId="478"/>
          <ac:graphicFrameMkLst>
            <pc:docMk/>
            <pc:sldMk cId="3590970086" sldId="2134806606"/>
            <ac:graphicFrameMk id="4" creationId="{BF9A7A6F-DFCB-C845-2237-718F871CD76A}"/>
          </ac:graphicFrameMkLst>
        </pc:graphicFrameChg>
        <pc:picChg chg="add mod ord">
          <ac:chgData name="Mohamed Ibissi" userId="90b6f8706c8cb808" providerId="LiveId" clId="{0A7FBB52-A209-4350-A6C8-DCE7C2CB10A7}" dt="2024-11-11T01:04:25.856" v="2429" actId="167"/>
          <ac:picMkLst>
            <pc:docMk/>
            <pc:sldMk cId="3590970086" sldId="2134806606"/>
            <ac:picMk id="5" creationId="{72C4307D-6B7E-1B3B-5671-A324BCEA6ECF}"/>
          </ac:picMkLst>
        </pc:picChg>
      </pc:sldChg>
      <pc:sldChg chg="addSp delSp modSp add del mod">
        <pc:chgData name="Mohamed Ibissi" userId="90b6f8706c8cb808" providerId="LiveId" clId="{0A7FBB52-A209-4350-A6C8-DCE7C2CB10A7}" dt="2024-11-12T15:08:40.576" v="2714" actId="47"/>
        <pc:sldMkLst>
          <pc:docMk/>
          <pc:sldMk cId="3968106039" sldId="2134806607"/>
        </pc:sldMkLst>
        <pc:graphicFrameChg chg="del">
          <ac:chgData name="Mohamed Ibissi" userId="90b6f8706c8cb808" providerId="LiveId" clId="{0A7FBB52-A209-4350-A6C8-DCE7C2CB10A7}" dt="2024-11-11T01:04:30.718" v="2430" actId="478"/>
          <ac:graphicFrameMkLst>
            <pc:docMk/>
            <pc:sldMk cId="3968106039" sldId="2134806607"/>
            <ac:graphicFrameMk id="4" creationId="{AD1CFB9F-5E6E-0C09-85B7-361E9F0F0421}"/>
          </ac:graphicFrameMkLst>
        </pc:graphicFrameChg>
        <pc:picChg chg="add mod ord">
          <ac:chgData name="Mohamed Ibissi" userId="90b6f8706c8cb808" providerId="LiveId" clId="{0A7FBB52-A209-4350-A6C8-DCE7C2CB10A7}" dt="2024-11-11T01:04:35.190" v="2432" actId="167"/>
          <ac:picMkLst>
            <pc:docMk/>
            <pc:sldMk cId="3968106039" sldId="2134806607"/>
            <ac:picMk id="3" creationId="{D4D1DD0C-2529-9812-6472-42F982833868}"/>
          </ac:picMkLst>
        </pc:picChg>
      </pc:sldChg>
      <pc:sldChg chg="addSp delSp modSp add del mod">
        <pc:chgData name="Mohamed Ibissi" userId="90b6f8706c8cb808" providerId="LiveId" clId="{0A7FBB52-A209-4350-A6C8-DCE7C2CB10A7}" dt="2024-11-12T15:08:41.623" v="2715" actId="47"/>
        <pc:sldMkLst>
          <pc:docMk/>
          <pc:sldMk cId="322751592" sldId="2134806608"/>
        </pc:sldMkLst>
        <pc:graphicFrameChg chg="del">
          <ac:chgData name="Mohamed Ibissi" userId="90b6f8706c8cb808" providerId="LiveId" clId="{0A7FBB52-A209-4350-A6C8-DCE7C2CB10A7}" dt="2024-11-11T01:04:48.026" v="2433" actId="478"/>
          <ac:graphicFrameMkLst>
            <pc:docMk/>
            <pc:sldMk cId="322751592" sldId="2134806608"/>
            <ac:graphicFrameMk id="4" creationId="{24BFDF4E-17BE-6449-91C4-680B6BFD9791}"/>
          </ac:graphicFrameMkLst>
        </pc:graphicFrameChg>
        <pc:picChg chg="add mod ord">
          <ac:chgData name="Mohamed Ibissi" userId="90b6f8706c8cb808" providerId="LiveId" clId="{0A7FBB52-A209-4350-A6C8-DCE7C2CB10A7}" dt="2024-11-11T01:04:51.997" v="2435" actId="167"/>
          <ac:picMkLst>
            <pc:docMk/>
            <pc:sldMk cId="322751592" sldId="2134806608"/>
            <ac:picMk id="5" creationId="{E70C1191-E644-D108-AB57-508F3ECB3B08}"/>
          </ac:picMkLst>
        </pc:picChg>
      </pc:sldChg>
      <pc:sldChg chg="addSp delSp modSp mod delAnim modAnim">
        <pc:chgData name="Mohamed Ibissi" userId="90b6f8706c8cb808" providerId="LiveId" clId="{0A7FBB52-A209-4350-A6C8-DCE7C2CB10A7}" dt="2024-11-11T01:05:02.581" v="2438" actId="167"/>
        <pc:sldMkLst>
          <pc:docMk/>
          <pc:sldMk cId="1924826847" sldId="2134806609"/>
        </pc:sldMkLst>
        <pc:spChg chg="mod">
          <ac:chgData name="Mohamed Ibissi" userId="90b6f8706c8cb808" providerId="LiveId" clId="{0A7FBB52-A209-4350-A6C8-DCE7C2CB10A7}" dt="2024-11-10T14:23:38.967" v="819" actId="20577"/>
          <ac:spMkLst>
            <pc:docMk/>
            <pc:sldMk cId="1924826847" sldId="2134806609"/>
            <ac:spMk id="3" creationId="{B18B6C67-EF28-D8EC-8898-653EAC52EB90}"/>
          </ac:spMkLst>
        </pc:spChg>
        <pc:spChg chg="add mod">
          <ac:chgData name="Mohamed Ibissi" userId="90b6f8706c8cb808" providerId="LiveId" clId="{0A7FBB52-A209-4350-A6C8-DCE7C2CB10A7}" dt="2024-11-10T14:22:35.708" v="786"/>
          <ac:spMkLst>
            <pc:docMk/>
            <pc:sldMk cId="1924826847" sldId="2134806609"/>
            <ac:spMk id="7" creationId="{619F4A0B-78BE-64A4-A950-08C23A86E9E3}"/>
          </ac:spMkLst>
        </pc:spChg>
        <pc:spChg chg="del">
          <ac:chgData name="Mohamed Ibissi" userId="90b6f8706c8cb808" providerId="LiveId" clId="{0A7FBB52-A209-4350-A6C8-DCE7C2CB10A7}" dt="2024-11-10T14:22:34.926" v="785" actId="478"/>
          <ac:spMkLst>
            <pc:docMk/>
            <pc:sldMk cId="1924826847" sldId="2134806609"/>
            <ac:spMk id="10" creationId="{4F4A9412-563F-0E4A-6862-EDE44B3FC992}"/>
          </ac:spMkLst>
        </pc:spChg>
        <pc:spChg chg="add mod">
          <ac:chgData name="Mohamed Ibissi" userId="90b6f8706c8cb808" providerId="LiveId" clId="{0A7FBB52-A209-4350-A6C8-DCE7C2CB10A7}" dt="2024-11-10T14:22:35.708" v="786"/>
          <ac:spMkLst>
            <pc:docMk/>
            <pc:sldMk cId="1924826847" sldId="2134806609"/>
            <ac:spMk id="12" creationId="{ED9D767E-DB6E-9242-EA77-52049DE3EF23}"/>
          </ac:spMkLst>
        </pc:spChg>
        <pc:spChg chg="add mod">
          <ac:chgData name="Mohamed Ibissi" userId="90b6f8706c8cb808" providerId="LiveId" clId="{0A7FBB52-A209-4350-A6C8-DCE7C2CB10A7}" dt="2024-11-10T14:23:21.808" v="798" actId="20577"/>
          <ac:spMkLst>
            <pc:docMk/>
            <pc:sldMk cId="1924826847" sldId="2134806609"/>
            <ac:spMk id="13" creationId="{89180B40-7957-39DA-F0AC-D01753D4BC81}"/>
          </ac:spMkLst>
        </pc:spChg>
        <pc:graphicFrameChg chg="del">
          <ac:chgData name="Mohamed Ibissi" userId="90b6f8706c8cb808" providerId="LiveId" clId="{0A7FBB52-A209-4350-A6C8-DCE7C2CB10A7}" dt="2024-11-11T01:04:58.516" v="2436" actId="478"/>
          <ac:graphicFrameMkLst>
            <pc:docMk/>
            <pc:sldMk cId="1924826847" sldId="2134806609"/>
            <ac:graphicFrameMk id="4" creationId="{D7B498D6-6008-496A-454D-BF4763182B11}"/>
          </ac:graphicFrameMkLst>
        </pc:graphicFrameChg>
        <pc:picChg chg="add mod ord">
          <ac:chgData name="Mohamed Ibissi" userId="90b6f8706c8cb808" providerId="LiveId" clId="{0A7FBB52-A209-4350-A6C8-DCE7C2CB10A7}" dt="2024-11-11T01:05:02.581" v="2438" actId="167"/>
          <ac:picMkLst>
            <pc:docMk/>
            <pc:sldMk cId="1924826847" sldId="2134806609"/>
            <ac:picMk id="2" creationId="{E6025CE7-4880-59EE-3E84-ED197DA7D528}"/>
          </ac:picMkLst>
        </pc:picChg>
        <pc:picChg chg="del">
          <ac:chgData name="Mohamed Ibissi" userId="90b6f8706c8cb808" providerId="LiveId" clId="{0A7FBB52-A209-4350-A6C8-DCE7C2CB10A7}" dt="2024-11-10T14:22:34.926" v="785" actId="478"/>
          <ac:picMkLst>
            <pc:docMk/>
            <pc:sldMk cId="1924826847" sldId="2134806609"/>
            <ac:picMk id="2" creationId="{FB640F8B-C717-CB36-04B6-3C89C2CFCABE}"/>
          </ac:picMkLst>
        </pc:picChg>
        <pc:picChg chg="del">
          <ac:chgData name="Mohamed Ibissi" userId="90b6f8706c8cb808" providerId="LiveId" clId="{0A7FBB52-A209-4350-A6C8-DCE7C2CB10A7}" dt="2024-11-10T14:22:34.926" v="785" actId="478"/>
          <ac:picMkLst>
            <pc:docMk/>
            <pc:sldMk cId="1924826847" sldId="2134806609"/>
            <ac:picMk id="5" creationId="{3BAE144B-35D3-4091-1ABF-72318A1781B1}"/>
          </ac:picMkLst>
        </pc:picChg>
        <pc:picChg chg="add mod">
          <ac:chgData name="Mohamed Ibissi" userId="90b6f8706c8cb808" providerId="LiveId" clId="{0A7FBB52-A209-4350-A6C8-DCE7C2CB10A7}" dt="2024-11-10T14:22:35.708" v="786"/>
          <ac:picMkLst>
            <pc:docMk/>
            <pc:sldMk cId="1924826847" sldId="2134806609"/>
            <ac:picMk id="6" creationId="{7DB48847-BBF9-2E3E-3BF7-AE146815FDA8}"/>
          </ac:picMkLst>
        </pc:picChg>
        <pc:picChg chg="del">
          <ac:chgData name="Mohamed Ibissi" userId="90b6f8706c8cb808" providerId="LiveId" clId="{0A7FBB52-A209-4350-A6C8-DCE7C2CB10A7}" dt="2024-11-10T14:22:34.926" v="785" actId="478"/>
          <ac:picMkLst>
            <pc:docMk/>
            <pc:sldMk cId="1924826847" sldId="2134806609"/>
            <ac:picMk id="8" creationId="{4C4D8B19-A813-DC47-E8BB-59925E806051}"/>
          </ac:picMkLst>
        </pc:picChg>
        <pc:picChg chg="del">
          <ac:chgData name="Mohamed Ibissi" userId="90b6f8706c8cb808" providerId="LiveId" clId="{0A7FBB52-A209-4350-A6C8-DCE7C2CB10A7}" dt="2024-11-10T14:22:34.926" v="785" actId="478"/>
          <ac:picMkLst>
            <pc:docMk/>
            <pc:sldMk cId="1924826847" sldId="2134806609"/>
            <ac:picMk id="11" creationId="{E23C353F-4340-F673-4DA3-419C592EDAE6}"/>
          </ac:picMkLst>
        </pc:picChg>
      </pc:sldChg>
      <pc:sldChg chg="addSp delSp modSp mod delAnim modAnim">
        <pc:chgData name="Mohamed Ibissi" userId="90b6f8706c8cb808" providerId="LiveId" clId="{0A7FBB52-A209-4350-A6C8-DCE7C2CB10A7}" dt="2024-11-11T01:07:07.756" v="2460" actId="167"/>
        <pc:sldMkLst>
          <pc:docMk/>
          <pc:sldMk cId="2180611796" sldId="2134806610"/>
        </pc:sldMkLst>
        <pc:spChg chg="mod">
          <ac:chgData name="Mohamed Ibissi" userId="90b6f8706c8cb808" providerId="LiveId" clId="{0A7FBB52-A209-4350-A6C8-DCE7C2CB10A7}" dt="2024-11-10T14:53:55.506" v="1047" actId="20577"/>
          <ac:spMkLst>
            <pc:docMk/>
            <pc:sldMk cId="2180611796" sldId="2134806610"/>
            <ac:spMk id="3" creationId="{51DEBADA-184F-6CDA-BC8F-C8E8491E453A}"/>
          </ac:spMkLst>
        </pc:spChg>
        <pc:spChg chg="mod">
          <ac:chgData name="Mohamed Ibissi" userId="90b6f8706c8cb808" providerId="LiveId" clId="{0A7FBB52-A209-4350-A6C8-DCE7C2CB10A7}" dt="2024-11-10T14:52:10.761" v="975" actId="1038"/>
          <ac:spMkLst>
            <pc:docMk/>
            <pc:sldMk cId="2180611796" sldId="2134806610"/>
            <ac:spMk id="6" creationId="{CBBE92EB-B40E-CE47-8680-1CE6ADE33420}"/>
          </ac:spMkLst>
        </pc:spChg>
        <pc:spChg chg="del">
          <ac:chgData name="Mohamed Ibissi" userId="90b6f8706c8cb808" providerId="LiveId" clId="{0A7FBB52-A209-4350-A6C8-DCE7C2CB10A7}" dt="2024-11-10T14:35:36.420" v="898" actId="478"/>
          <ac:spMkLst>
            <pc:docMk/>
            <pc:sldMk cId="2180611796" sldId="2134806610"/>
            <ac:spMk id="7" creationId="{B1D552EF-594D-EE7E-01DE-EF20E4F9F975}"/>
          </ac:spMkLst>
        </pc:spChg>
        <pc:spChg chg="add del mod">
          <ac:chgData name="Mohamed Ibissi" userId="90b6f8706c8cb808" providerId="LiveId" clId="{0A7FBB52-A209-4350-A6C8-DCE7C2CB10A7}" dt="2024-11-10T14:50:15.934" v="904" actId="478"/>
          <ac:spMkLst>
            <pc:docMk/>
            <pc:sldMk cId="2180611796" sldId="2134806610"/>
            <ac:spMk id="9" creationId="{48DEB9AB-589C-3C5B-6EEC-D2297666CAC5}"/>
          </ac:spMkLst>
        </pc:spChg>
        <pc:spChg chg="add mod">
          <ac:chgData name="Mohamed Ibissi" userId="90b6f8706c8cb808" providerId="LiveId" clId="{0A7FBB52-A209-4350-A6C8-DCE7C2CB10A7}" dt="2024-11-10T14:50:23.390" v="905"/>
          <ac:spMkLst>
            <pc:docMk/>
            <pc:sldMk cId="2180611796" sldId="2134806610"/>
            <ac:spMk id="10" creationId="{6ED08410-86D0-B62D-7B5D-01188E6BC13F}"/>
          </ac:spMkLst>
        </pc:spChg>
        <pc:spChg chg="add mod">
          <ac:chgData name="Mohamed Ibissi" userId="90b6f8706c8cb808" providerId="LiveId" clId="{0A7FBB52-A209-4350-A6C8-DCE7C2CB10A7}" dt="2024-11-10T14:52:21.923" v="1017" actId="1036"/>
          <ac:spMkLst>
            <pc:docMk/>
            <pc:sldMk cId="2180611796" sldId="2134806610"/>
            <ac:spMk id="11" creationId="{5C01A16A-A1BD-C1BE-B5F7-BB4F5AD0E64E}"/>
          </ac:spMkLst>
        </pc:spChg>
        <pc:spChg chg="add mod">
          <ac:chgData name="Mohamed Ibissi" userId="90b6f8706c8cb808" providerId="LiveId" clId="{0A7FBB52-A209-4350-A6C8-DCE7C2CB10A7}" dt="2024-11-10T14:53:17.038" v="1033" actId="1036"/>
          <ac:spMkLst>
            <pc:docMk/>
            <pc:sldMk cId="2180611796" sldId="2134806610"/>
            <ac:spMk id="12" creationId="{C6435E7D-35B5-5D79-52C7-F37A2C2413AF}"/>
          </ac:spMkLst>
        </pc:spChg>
        <pc:graphicFrameChg chg="del">
          <ac:chgData name="Mohamed Ibissi" userId="90b6f8706c8cb808" providerId="LiveId" clId="{0A7FBB52-A209-4350-A6C8-DCE7C2CB10A7}" dt="2024-11-11T01:07:04.208" v="2458" actId="478"/>
          <ac:graphicFrameMkLst>
            <pc:docMk/>
            <pc:sldMk cId="2180611796" sldId="2134806610"/>
            <ac:graphicFrameMk id="4" creationId="{06F69896-37B0-159C-1774-F8D7D60BCDB1}"/>
          </ac:graphicFrameMkLst>
        </pc:graphicFrameChg>
        <pc:picChg chg="mod">
          <ac:chgData name="Mohamed Ibissi" userId="90b6f8706c8cb808" providerId="LiveId" clId="{0A7FBB52-A209-4350-A6C8-DCE7C2CB10A7}" dt="2024-11-10T14:35:23.503" v="897" actId="14826"/>
          <ac:picMkLst>
            <pc:docMk/>
            <pc:sldMk cId="2180611796" sldId="2134806610"/>
            <ac:picMk id="2" creationId="{95E9A98D-BDCF-37DD-E0FC-B70788A2EDD3}"/>
          </ac:picMkLst>
        </pc:picChg>
        <pc:picChg chg="add mod ord">
          <ac:chgData name="Mohamed Ibissi" userId="90b6f8706c8cb808" providerId="LiveId" clId="{0A7FBB52-A209-4350-A6C8-DCE7C2CB10A7}" dt="2024-11-11T01:07:07.756" v="2460" actId="167"/>
          <ac:picMkLst>
            <pc:docMk/>
            <pc:sldMk cId="2180611796" sldId="2134806610"/>
            <ac:picMk id="7" creationId="{D471CBD9-B12A-0848-FB90-078AD261BA3D}"/>
          </ac:picMkLst>
        </pc:picChg>
        <pc:picChg chg="del">
          <ac:chgData name="Mohamed Ibissi" userId="90b6f8706c8cb808" providerId="LiveId" clId="{0A7FBB52-A209-4350-A6C8-DCE7C2CB10A7}" dt="2024-11-10T14:35:46.725" v="899" actId="478"/>
          <ac:picMkLst>
            <pc:docMk/>
            <pc:sldMk cId="2180611796" sldId="2134806610"/>
            <ac:picMk id="8" creationId="{614B3E2E-3D59-FC78-8BF0-3F5A0CF837C6}"/>
          </ac:picMkLst>
        </pc:picChg>
      </pc:sldChg>
      <pc:sldChg chg="del">
        <pc:chgData name="Mohamed Ibissi" userId="90b6f8706c8cb808" providerId="LiveId" clId="{0A7FBB52-A209-4350-A6C8-DCE7C2CB10A7}" dt="2024-11-10T14:53:37.671" v="1036" actId="47"/>
        <pc:sldMkLst>
          <pc:docMk/>
          <pc:sldMk cId="3978500129" sldId="2134806611"/>
        </pc:sldMkLst>
      </pc:sldChg>
      <pc:sldChg chg="addSp delSp modSp mod">
        <pc:chgData name="Mohamed Ibissi" userId="90b6f8706c8cb808" providerId="LiveId" clId="{0A7FBB52-A209-4350-A6C8-DCE7C2CB10A7}" dt="2024-11-11T01:07:20.782" v="2463" actId="167"/>
        <pc:sldMkLst>
          <pc:docMk/>
          <pc:sldMk cId="1474517608" sldId="2134806612"/>
        </pc:sldMkLst>
        <pc:spChg chg="add del mod">
          <ac:chgData name="Mohamed Ibissi" userId="90b6f8706c8cb808" providerId="LiveId" clId="{0A7FBB52-A209-4350-A6C8-DCE7C2CB10A7}" dt="2024-11-10T14:57:02.894" v="1065" actId="21"/>
          <ac:spMkLst>
            <pc:docMk/>
            <pc:sldMk cId="1474517608" sldId="2134806612"/>
            <ac:spMk id="2" creationId="{69515B0D-65A1-DA3E-FB79-9D999003A195}"/>
          </ac:spMkLst>
        </pc:spChg>
        <pc:spChg chg="mod">
          <ac:chgData name="Mohamed Ibissi" userId="90b6f8706c8cb808" providerId="LiveId" clId="{0A7FBB52-A209-4350-A6C8-DCE7C2CB10A7}" dt="2024-11-10T14:54:15.544" v="1049" actId="20577"/>
          <ac:spMkLst>
            <pc:docMk/>
            <pc:sldMk cId="1474517608" sldId="2134806612"/>
            <ac:spMk id="3" creationId="{DCF3EA99-1149-E86E-DC3D-86D323964DD2}"/>
          </ac:spMkLst>
        </pc:spChg>
        <pc:graphicFrameChg chg="del">
          <ac:chgData name="Mohamed Ibissi" userId="90b6f8706c8cb808" providerId="LiveId" clId="{0A7FBB52-A209-4350-A6C8-DCE7C2CB10A7}" dt="2024-11-11T01:07:16.200" v="2461" actId="478"/>
          <ac:graphicFrameMkLst>
            <pc:docMk/>
            <pc:sldMk cId="1474517608" sldId="2134806612"/>
            <ac:graphicFrameMk id="4" creationId="{EFB9AFC3-2DFD-3AB7-F02C-92DDF8733FA6}"/>
          </ac:graphicFrameMkLst>
        </pc:graphicFrameChg>
        <pc:picChg chg="add mod ord">
          <ac:chgData name="Mohamed Ibissi" userId="90b6f8706c8cb808" providerId="LiveId" clId="{0A7FBB52-A209-4350-A6C8-DCE7C2CB10A7}" dt="2024-11-11T01:07:20.782" v="2463" actId="167"/>
          <ac:picMkLst>
            <pc:docMk/>
            <pc:sldMk cId="1474517608" sldId="2134806612"/>
            <ac:picMk id="2" creationId="{72A63E77-2D81-56E9-3177-F16508D53AE3}"/>
          </ac:picMkLst>
        </pc:picChg>
        <pc:picChg chg="mod">
          <ac:chgData name="Mohamed Ibissi" userId="90b6f8706c8cb808" providerId="LiveId" clId="{0A7FBB52-A209-4350-A6C8-DCE7C2CB10A7}" dt="2024-11-10T14:55:18.741" v="1050" actId="14826"/>
          <ac:picMkLst>
            <pc:docMk/>
            <pc:sldMk cId="1474517608" sldId="2134806612"/>
            <ac:picMk id="10" creationId="{F4BD9D02-4AF1-CD2C-3923-F6CAE52E4EE7}"/>
          </ac:picMkLst>
        </pc:picChg>
        <pc:picChg chg="del">
          <ac:chgData name="Mohamed Ibissi" userId="90b6f8706c8cb808" providerId="LiveId" clId="{0A7FBB52-A209-4350-A6C8-DCE7C2CB10A7}" dt="2024-11-10T14:55:31.809" v="1051" actId="478"/>
          <ac:picMkLst>
            <pc:docMk/>
            <pc:sldMk cId="1474517608" sldId="2134806612"/>
            <ac:picMk id="12" creationId="{9FD05663-FDA2-D37B-9D02-F4A8BF94D716}"/>
          </ac:picMkLst>
        </pc:picChg>
        <pc:picChg chg="del">
          <ac:chgData name="Mohamed Ibissi" userId="90b6f8706c8cb808" providerId="LiveId" clId="{0A7FBB52-A209-4350-A6C8-DCE7C2CB10A7}" dt="2024-11-10T14:55:34.139" v="1052" actId="478"/>
          <ac:picMkLst>
            <pc:docMk/>
            <pc:sldMk cId="1474517608" sldId="2134806612"/>
            <ac:picMk id="13" creationId="{A26B4A13-974E-3088-6EFB-6CD189B79146}"/>
          </ac:picMkLst>
        </pc:picChg>
      </pc:sldChg>
      <pc:sldChg chg="addSp delSp modSp mod">
        <pc:chgData name="Mohamed Ibissi" userId="90b6f8706c8cb808" providerId="LiveId" clId="{0A7FBB52-A209-4350-A6C8-DCE7C2CB10A7}" dt="2024-11-12T15:09:43.410" v="2726"/>
        <pc:sldMkLst>
          <pc:docMk/>
          <pc:sldMk cId="319560384" sldId="2134806613"/>
        </pc:sldMkLst>
        <pc:spChg chg="del">
          <ac:chgData name="Mohamed Ibissi" userId="90b6f8706c8cb808" providerId="LiveId" clId="{0A7FBB52-A209-4350-A6C8-DCE7C2CB10A7}" dt="2024-11-10T14:56:01.997" v="1053" actId="478"/>
          <ac:spMkLst>
            <pc:docMk/>
            <pc:sldMk cId="319560384" sldId="2134806613"/>
            <ac:spMk id="2" creationId="{E3287BD5-C6CA-F963-5CE5-9DBB1C2199BE}"/>
          </ac:spMkLst>
        </pc:spChg>
        <pc:spChg chg="mod">
          <ac:chgData name="Mohamed Ibissi" userId="90b6f8706c8cb808" providerId="LiveId" clId="{0A7FBB52-A209-4350-A6C8-DCE7C2CB10A7}" dt="2024-11-12T15:09:43.410" v="2726"/>
          <ac:spMkLst>
            <pc:docMk/>
            <pc:sldMk cId="319560384" sldId="2134806613"/>
            <ac:spMk id="3" creationId="{A5882628-4CD1-336F-567A-9CA7C6240979}"/>
          </ac:spMkLst>
        </pc:spChg>
        <pc:spChg chg="add mod">
          <ac:chgData name="Mohamed Ibissi" userId="90b6f8706c8cb808" providerId="LiveId" clId="{0A7FBB52-A209-4350-A6C8-DCE7C2CB10A7}" dt="2024-11-10T14:57:44.169" v="1072" actId="14100"/>
          <ac:spMkLst>
            <pc:docMk/>
            <pc:sldMk cId="319560384" sldId="2134806613"/>
            <ac:spMk id="7" creationId="{08A097D9-42B5-A27D-4864-3B8BB42CA899}"/>
          </ac:spMkLst>
        </pc:spChg>
        <pc:spChg chg="add mod">
          <ac:chgData name="Mohamed Ibissi" userId="90b6f8706c8cb808" providerId="LiveId" clId="{0A7FBB52-A209-4350-A6C8-DCE7C2CB10A7}" dt="2024-11-10T14:57:35.291" v="1071" actId="1076"/>
          <ac:spMkLst>
            <pc:docMk/>
            <pc:sldMk cId="319560384" sldId="2134806613"/>
            <ac:spMk id="8" creationId="{69515B0D-65A1-DA3E-FB79-9D999003A195}"/>
          </ac:spMkLst>
        </pc:spChg>
        <pc:spChg chg="del">
          <ac:chgData name="Mohamed Ibissi" userId="90b6f8706c8cb808" providerId="LiveId" clId="{0A7FBB52-A209-4350-A6C8-DCE7C2CB10A7}" dt="2024-11-10T14:56:01.997" v="1053" actId="478"/>
          <ac:spMkLst>
            <pc:docMk/>
            <pc:sldMk cId="319560384" sldId="2134806613"/>
            <ac:spMk id="11" creationId="{8983D232-9F6D-EF83-FC78-D37B313F2897}"/>
          </ac:spMkLst>
        </pc:spChg>
        <pc:graphicFrameChg chg="del">
          <ac:chgData name="Mohamed Ibissi" userId="90b6f8706c8cb808" providerId="LiveId" clId="{0A7FBB52-A209-4350-A6C8-DCE7C2CB10A7}" dt="2024-11-11T01:07:31.665" v="2464" actId="478"/>
          <ac:graphicFrameMkLst>
            <pc:docMk/>
            <pc:sldMk cId="319560384" sldId="2134806613"/>
            <ac:graphicFrameMk id="4" creationId="{06ACFDF9-8C36-2A25-6775-7D64EF713D8E}"/>
          </ac:graphicFrameMkLst>
        </pc:graphicFrameChg>
        <pc:picChg chg="add mod ord">
          <ac:chgData name="Mohamed Ibissi" userId="90b6f8706c8cb808" providerId="LiveId" clId="{0A7FBB52-A209-4350-A6C8-DCE7C2CB10A7}" dt="2024-11-11T01:07:38.186" v="2466" actId="167"/>
          <ac:picMkLst>
            <pc:docMk/>
            <pc:sldMk cId="319560384" sldId="2134806613"/>
            <ac:picMk id="2" creationId="{7573AFFA-7CCA-46F8-C75E-21D51876FE55}"/>
          </ac:picMkLst>
        </pc:picChg>
        <pc:picChg chg="add mod">
          <ac:chgData name="Mohamed Ibissi" userId="90b6f8706c8cb808" providerId="LiveId" clId="{0A7FBB52-A209-4350-A6C8-DCE7C2CB10A7}" dt="2024-11-11T01:08:23.278" v="2474" actId="14100"/>
          <ac:picMkLst>
            <pc:docMk/>
            <pc:sldMk cId="319560384" sldId="2134806613"/>
            <ac:picMk id="6" creationId="{F24E8DED-855A-F3CA-4788-5A5E1D81A9AA}"/>
          </ac:picMkLst>
        </pc:picChg>
        <pc:picChg chg="del">
          <ac:chgData name="Mohamed Ibissi" userId="90b6f8706c8cb808" providerId="LiveId" clId="{0A7FBB52-A209-4350-A6C8-DCE7C2CB10A7}" dt="2024-11-10T14:56:01.997" v="1053" actId="478"/>
          <ac:picMkLst>
            <pc:docMk/>
            <pc:sldMk cId="319560384" sldId="2134806613"/>
            <ac:picMk id="10" creationId="{BA06459D-8AD4-7EDF-60AB-AD6DA5295119}"/>
          </ac:picMkLst>
        </pc:picChg>
        <pc:picChg chg="del">
          <ac:chgData name="Mohamed Ibissi" userId="90b6f8706c8cb808" providerId="LiveId" clId="{0A7FBB52-A209-4350-A6C8-DCE7C2CB10A7}" dt="2024-11-10T14:56:01.997" v="1053" actId="478"/>
          <ac:picMkLst>
            <pc:docMk/>
            <pc:sldMk cId="319560384" sldId="2134806613"/>
            <ac:picMk id="12" creationId="{07D4726B-8219-8991-8A4D-ED37E660C4CC}"/>
          </ac:picMkLst>
        </pc:picChg>
        <pc:picChg chg="del">
          <ac:chgData name="Mohamed Ibissi" userId="90b6f8706c8cb808" providerId="LiveId" clId="{0A7FBB52-A209-4350-A6C8-DCE7C2CB10A7}" dt="2024-11-10T14:56:01.997" v="1053" actId="478"/>
          <ac:picMkLst>
            <pc:docMk/>
            <pc:sldMk cId="319560384" sldId="2134806613"/>
            <ac:picMk id="13" creationId="{898ABDA7-2305-EB17-9895-8D23695CDFFF}"/>
          </ac:picMkLst>
        </pc:picChg>
      </pc:sldChg>
      <pc:sldChg chg="addSp delSp modSp del mod">
        <pc:chgData name="Mohamed Ibissi" userId="90b6f8706c8cb808" providerId="LiveId" clId="{0A7FBB52-A209-4350-A6C8-DCE7C2CB10A7}" dt="2024-11-12T15:09:49.135" v="2727" actId="47"/>
        <pc:sldMkLst>
          <pc:docMk/>
          <pc:sldMk cId="2757146453" sldId="2134806614"/>
        </pc:sldMkLst>
        <pc:graphicFrameChg chg="del">
          <ac:chgData name="Mohamed Ibissi" userId="90b6f8706c8cb808" providerId="LiveId" clId="{0A7FBB52-A209-4350-A6C8-DCE7C2CB10A7}" dt="2024-11-11T01:07:47.976" v="2467" actId="478"/>
          <ac:graphicFrameMkLst>
            <pc:docMk/>
            <pc:sldMk cId="2757146453" sldId="2134806614"/>
            <ac:graphicFrameMk id="4" creationId="{34F5BC71-EA81-C33D-8CD0-CFEF5C32228C}"/>
          </ac:graphicFrameMkLst>
        </pc:graphicFrameChg>
        <pc:picChg chg="add mod ord">
          <ac:chgData name="Mohamed Ibissi" userId="90b6f8706c8cb808" providerId="LiveId" clId="{0A7FBB52-A209-4350-A6C8-DCE7C2CB10A7}" dt="2024-11-11T01:07:53.728" v="2469" actId="167"/>
          <ac:picMkLst>
            <pc:docMk/>
            <pc:sldMk cId="2757146453" sldId="2134806614"/>
            <ac:picMk id="5" creationId="{ACF93BEF-75A5-592D-CB5C-FAB007A74DD6}"/>
          </ac:picMkLst>
        </pc:picChg>
      </pc:sldChg>
      <pc:sldChg chg="addSp delSp modSp mod delAnim modAnim">
        <pc:chgData name="Mohamed Ibissi" userId="90b6f8706c8cb808" providerId="LiveId" clId="{0A7FBB52-A209-4350-A6C8-DCE7C2CB10A7}" dt="2024-11-11T01:08:08.532" v="2473" actId="14100"/>
        <pc:sldMkLst>
          <pc:docMk/>
          <pc:sldMk cId="145184079" sldId="2134806615"/>
        </pc:sldMkLst>
        <pc:spChg chg="add del mod">
          <ac:chgData name="Mohamed Ibissi" userId="90b6f8706c8cb808" providerId="LiveId" clId="{0A7FBB52-A209-4350-A6C8-DCE7C2CB10A7}" dt="2024-11-10T14:58:24.214" v="1077" actId="478"/>
          <ac:spMkLst>
            <pc:docMk/>
            <pc:sldMk cId="145184079" sldId="2134806615"/>
            <ac:spMk id="5" creationId="{7EE18C6B-7779-7EF3-EEC2-C0A7DAEC770D}"/>
          </ac:spMkLst>
        </pc:spChg>
        <pc:spChg chg="add del mod">
          <ac:chgData name="Mohamed Ibissi" userId="90b6f8706c8cb808" providerId="LiveId" clId="{0A7FBB52-A209-4350-A6C8-DCE7C2CB10A7}" dt="2024-11-10T14:58:17.774" v="1076" actId="478"/>
          <ac:spMkLst>
            <pc:docMk/>
            <pc:sldMk cId="145184079" sldId="2134806615"/>
            <ac:spMk id="8" creationId="{1B80914E-FC72-F095-BE29-C9CEEFA6AD99}"/>
          </ac:spMkLst>
        </pc:spChg>
        <pc:spChg chg="add mod">
          <ac:chgData name="Mohamed Ibissi" userId="90b6f8706c8cb808" providerId="LiveId" clId="{0A7FBB52-A209-4350-A6C8-DCE7C2CB10A7}" dt="2024-11-10T14:59:16.125" v="1080" actId="20577"/>
          <ac:spMkLst>
            <pc:docMk/>
            <pc:sldMk cId="145184079" sldId="2134806615"/>
            <ac:spMk id="10" creationId="{707CF925-0E71-FB4F-1B6B-372F086266F0}"/>
          </ac:spMkLst>
        </pc:spChg>
        <pc:spChg chg="add mod">
          <ac:chgData name="Mohamed Ibissi" userId="90b6f8706c8cb808" providerId="LiveId" clId="{0A7FBB52-A209-4350-A6C8-DCE7C2CB10A7}" dt="2024-11-10T14:59:35.944" v="1083" actId="20577"/>
          <ac:spMkLst>
            <pc:docMk/>
            <pc:sldMk cId="145184079" sldId="2134806615"/>
            <ac:spMk id="11" creationId="{3496E622-9927-E2B6-BDC0-2DC1C6B5E3E7}"/>
          </ac:spMkLst>
        </pc:spChg>
        <pc:spChg chg="add mod">
          <ac:chgData name="Mohamed Ibissi" userId="90b6f8706c8cb808" providerId="LiveId" clId="{0A7FBB52-A209-4350-A6C8-DCE7C2CB10A7}" dt="2024-11-10T14:59:52.984" v="1090" actId="1037"/>
          <ac:spMkLst>
            <pc:docMk/>
            <pc:sldMk cId="145184079" sldId="2134806615"/>
            <ac:spMk id="14" creationId="{85EE499F-A2B5-D362-5FE1-4D6384838A2E}"/>
          </ac:spMkLst>
        </pc:spChg>
        <pc:graphicFrameChg chg="del">
          <ac:chgData name="Mohamed Ibissi" userId="90b6f8706c8cb808" providerId="LiveId" clId="{0A7FBB52-A209-4350-A6C8-DCE7C2CB10A7}" dt="2024-11-11T01:07:59.465" v="2470" actId="478"/>
          <ac:graphicFrameMkLst>
            <pc:docMk/>
            <pc:sldMk cId="145184079" sldId="2134806615"/>
            <ac:graphicFrameMk id="4" creationId="{312FFC04-93D2-3A9C-9D6F-5B6CD14504EA}"/>
          </ac:graphicFrameMkLst>
        </pc:graphicFrameChg>
        <pc:picChg chg="add mod">
          <ac:chgData name="Mohamed Ibissi" userId="90b6f8706c8cb808" providerId="LiveId" clId="{0A7FBB52-A209-4350-A6C8-DCE7C2CB10A7}" dt="2024-11-11T01:08:08.532" v="2473" actId="14100"/>
          <ac:picMkLst>
            <pc:docMk/>
            <pc:sldMk cId="145184079" sldId="2134806615"/>
            <ac:picMk id="2" creationId="{20C78FE2-5FC1-6D77-309B-790557B07E11}"/>
          </ac:picMkLst>
        </pc:picChg>
        <pc:picChg chg="add mod ord">
          <ac:chgData name="Mohamed Ibissi" userId="90b6f8706c8cb808" providerId="LiveId" clId="{0A7FBB52-A209-4350-A6C8-DCE7C2CB10A7}" dt="2024-11-11T01:08:03.279" v="2472" actId="167"/>
          <ac:picMkLst>
            <pc:docMk/>
            <pc:sldMk cId="145184079" sldId="2134806615"/>
            <ac:picMk id="5" creationId="{A32FD65B-FAF3-6DA7-C928-950D44178A99}"/>
          </ac:picMkLst>
        </pc:picChg>
        <pc:picChg chg="del">
          <ac:chgData name="Mohamed Ibissi" userId="90b6f8706c8cb808" providerId="LiveId" clId="{0A7FBB52-A209-4350-A6C8-DCE7C2CB10A7}" dt="2024-11-10T14:58:01.268" v="1073" actId="478"/>
          <ac:picMkLst>
            <pc:docMk/>
            <pc:sldMk cId="145184079" sldId="2134806615"/>
            <ac:picMk id="6" creationId="{51651941-7236-EEAB-C696-8BE32D04027F}"/>
          </ac:picMkLst>
        </pc:picChg>
        <pc:picChg chg="del">
          <ac:chgData name="Mohamed Ibissi" userId="90b6f8706c8cb808" providerId="LiveId" clId="{0A7FBB52-A209-4350-A6C8-DCE7C2CB10A7}" dt="2024-11-10T14:58:03.722" v="1074" actId="478"/>
          <ac:picMkLst>
            <pc:docMk/>
            <pc:sldMk cId="145184079" sldId="2134806615"/>
            <ac:picMk id="7" creationId="{F44E2A91-6434-CA01-B0CE-91BCD5A207FE}"/>
          </ac:picMkLst>
        </pc:picChg>
        <pc:picChg chg="del">
          <ac:chgData name="Mohamed Ibissi" userId="90b6f8706c8cb808" providerId="LiveId" clId="{0A7FBB52-A209-4350-A6C8-DCE7C2CB10A7}" dt="2024-11-10T14:58:03.722" v="1074" actId="478"/>
          <ac:picMkLst>
            <pc:docMk/>
            <pc:sldMk cId="145184079" sldId="2134806615"/>
            <ac:picMk id="12" creationId="{5F3678AB-B861-8B64-018E-85F93B67E5E9}"/>
          </ac:picMkLst>
        </pc:picChg>
        <pc:picChg chg="del">
          <ac:chgData name="Mohamed Ibissi" userId="90b6f8706c8cb808" providerId="LiveId" clId="{0A7FBB52-A209-4350-A6C8-DCE7C2CB10A7}" dt="2024-11-10T14:58:03.722" v="1074" actId="478"/>
          <ac:picMkLst>
            <pc:docMk/>
            <pc:sldMk cId="145184079" sldId="2134806615"/>
            <ac:picMk id="13" creationId="{065EB655-9F56-F30D-B213-F33677E76C08}"/>
          </ac:picMkLst>
        </pc:picChg>
      </pc:sldChg>
      <pc:sldChg chg="addSp delSp modSp mod ord delAnim modAnim">
        <pc:chgData name="Mohamed Ibissi" userId="90b6f8706c8cb808" providerId="LiveId" clId="{0A7FBB52-A209-4350-A6C8-DCE7C2CB10A7}" dt="2024-11-11T01:09:37.688" v="2486" actId="14100"/>
        <pc:sldMkLst>
          <pc:docMk/>
          <pc:sldMk cId="3487308513" sldId="2134806616"/>
        </pc:sldMkLst>
        <pc:spChg chg="add mod">
          <ac:chgData name="Mohamed Ibissi" userId="90b6f8706c8cb808" providerId="LiveId" clId="{0A7FBB52-A209-4350-A6C8-DCE7C2CB10A7}" dt="2024-11-10T15:32:03.730" v="1147"/>
          <ac:spMkLst>
            <pc:docMk/>
            <pc:sldMk cId="3487308513" sldId="2134806616"/>
            <ac:spMk id="6" creationId="{7085F3AC-345C-AFC6-0112-64A9ED787983}"/>
          </ac:spMkLst>
        </pc:spChg>
        <pc:spChg chg="add del mod">
          <ac:chgData name="Mohamed Ibissi" userId="90b6f8706c8cb808" providerId="LiveId" clId="{0A7FBB52-A209-4350-A6C8-DCE7C2CB10A7}" dt="2024-11-10T23:51:04.115" v="2019" actId="478"/>
          <ac:spMkLst>
            <pc:docMk/>
            <pc:sldMk cId="3487308513" sldId="2134806616"/>
            <ac:spMk id="7" creationId="{CA6828D4-ECD8-BE4F-C04C-F08A014E610C}"/>
          </ac:spMkLst>
        </pc:spChg>
        <pc:spChg chg="mod">
          <ac:chgData name="Mohamed Ibissi" userId="90b6f8706c8cb808" providerId="LiveId" clId="{0A7FBB52-A209-4350-A6C8-DCE7C2CB10A7}" dt="2024-11-10T15:33:40.775" v="1173" actId="20577"/>
          <ac:spMkLst>
            <pc:docMk/>
            <pc:sldMk cId="3487308513" sldId="2134806616"/>
            <ac:spMk id="8" creationId="{D3898ADB-2ADE-11B0-5942-35277D5B5EBB}"/>
          </ac:spMkLst>
        </pc:spChg>
        <pc:spChg chg="del">
          <ac:chgData name="Mohamed Ibissi" userId="90b6f8706c8cb808" providerId="LiveId" clId="{0A7FBB52-A209-4350-A6C8-DCE7C2CB10A7}" dt="2024-11-10T15:31:55.301" v="1146" actId="478"/>
          <ac:spMkLst>
            <pc:docMk/>
            <pc:sldMk cId="3487308513" sldId="2134806616"/>
            <ac:spMk id="9" creationId="{E1EA74E2-E0E6-46A1-5C38-AD9FE0427CC1}"/>
          </ac:spMkLst>
        </pc:spChg>
        <pc:spChg chg="add mod">
          <ac:chgData name="Mohamed Ibissi" userId="90b6f8706c8cb808" providerId="LiveId" clId="{0A7FBB52-A209-4350-A6C8-DCE7C2CB10A7}" dt="2024-11-10T15:34:25.078" v="1183" actId="20577"/>
          <ac:spMkLst>
            <pc:docMk/>
            <pc:sldMk cId="3487308513" sldId="2134806616"/>
            <ac:spMk id="10" creationId="{2769FCA5-A986-2635-F008-E99311841332}"/>
          </ac:spMkLst>
        </pc:spChg>
        <pc:spChg chg="add mod">
          <ac:chgData name="Mohamed Ibissi" userId="90b6f8706c8cb808" providerId="LiveId" clId="{0A7FBB52-A209-4350-A6C8-DCE7C2CB10A7}" dt="2024-11-10T15:34:40.651" v="1191" actId="1035"/>
          <ac:spMkLst>
            <pc:docMk/>
            <pc:sldMk cId="3487308513" sldId="2134806616"/>
            <ac:spMk id="11" creationId="{97D0A0CC-F7BB-AE10-C48C-BBEAFA6384E6}"/>
          </ac:spMkLst>
        </pc:spChg>
        <pc:graphicFrameChg chg="del">
          <ac:chgData name="Mohamed Ibissi" userId="90b6f8706c8cb808" providerId="LiveId" clId="{0A7FBB52-A209-4350-A6C8-DCE7C2CB10A7}" dt="2024-11-11T01:09:29.183" v="2483" actId="478"/>
          <ac:graphicFrameMkLst>
            <pc:docMk/>
            <pc:sldMk cId="3487308513" sldId="2134806616"/>
            <ac:graphicFrameMk id="4" creationId="{36F179AF-8D62-B59D-F1FA-6DEF30D16ECB}"/>
          </ac:graphicFrameMkLst>
        </pc:graphicFrameChg>
        <pc:picChg chg="del">
          <ac:chgData name="Mohamed Ibissi" userId="90b6f8706c8cb808" providerId="LiveId" clId="{0A7FBB52-A209-4350-A6C8-DCE7C2CB10A7}" dt="2024-11-10T15:31:55.301" v="1146" actId="478"/>
          <ac:picMkLst>
            <pc:docMk/>
            <pc:sldMk cId="3487308513" sldId="2134806616"/>
            <ac:picMk id="2" creationId="{59A00757-E278-F155-2513-7D764A47EFB4}"/>
          </ac:picMkLst>
        </pc:picChg>
        <pc:picChg chg="add mod ord">
          <ac:chgData name="Mohamed Ibissi" userId="90b6f8706c8cb808" providerId="LiveId" clId="{0A7FBB52-A209-4350-A6C8-DCE7C2CB10A7}" dt="2024-11-11T01:09:33.044" v="2485" actId="167"/>
          <ac:picMkLst>
            <pc:docMk/>
            <pc:sldMk cId="3487308513" sldId="2134806616"/>
            <ac:picMk id="2" creationId="{90A86301-1CAA-223E-D01F-C1554CC11A50}"/>
          </ac:picMkLst>
        </pc:picChg>
        <pc:picChg chg="add mod">
          <ac:chgData name="Mohamed Ibissi" userId="90b6f8706c8cb808" providerId="LiveId" clId="{0A7FBB52-A209-4350-A6C8-DCE7C2CB10A7}" dt="2024-11-11T01:09:37.688" v="2486" actId="14100"/>
          <ac:picMkLst>
            <pc:docMk/>
            <pc:sldMk cId="3487308513" sldId="2134806616"/>
            <ac:picMk id="3" creationId="{CD9163AF-F53D-841D-44E4-1FE36F5A7E14}"/>
          </ac:picMkLst>
        </pc:picChg>
        <pc:picChg chg="del">
          <ac:chgData name="Mohamed Ibissi" userId="90b6f8706c8cb808" providerId="LiveId" clId="{0A7FBB52-A209-4350-A6C8-DCE7C2CB10A7}" dt="2024-11-10T15:31:55.301" v="1146" actId="478"/>
          <ac:picMkLst>
            <pc:docMk/>
            <pc:sldMk cId="3487308513" sldId="2134806616"/>
            <ac:picMk id="5" creationId="{8D07461D-3803-6D34-C75F-2FD0E364A581}"/>
          </ac:picMkLst>
        </pc:picChg>
      </pc:sldChg>
      <pc:sldChg chg="del">
        <pc:chgData name="Mohamed Ibissi" userId="90b6f8706c8cb808" providerId="LiveId" clId="{0A7FBB52-A209-4350-A6C8-DCE7C2CB10A7}" dt="2024-11-10T15:32:37.913" v="1151" actId="47"/>
        <pc:sldMkLst>
          <pc:docMk/>
          <pc:sldMk cId="223812509" sldId="2134806617"/>
        </pc:sldMkLst>
      </pc:sldChg>
      <pc:sldChg chg="addSp delSp modSp mod modAnim">
        <pc:chgData name="Mohamed Ibissi" userId="90b6f8706c8cb808" providerId="LiveId" clId="{0A7FBB52-A209-4350-A6C8-DCE7C2CB10A7}" dt="2024-11-12T15:10:54.017" v="2731"/>
        <pc:sldMkLst>
          <pc:docMk/>
          <pc:sldMk cId="3242089956" sldId="2134806618"/>
        </pc:sldMkLst>
        <pc:spChg chg="mod">
          <ac:chgData name="Mohamed Ibissi" userId="90b6f8706c8cb808" providerId="LiveId" clId="{0A7FBB52-A209-4350-A6C8-DCE7C2CB10A7}" dt="2024-11-12T15:10:54.017" v="2731"/>
          <ac:spMkLst>
            <pc:docMk/>
            <pc:sldMk cId="3242089956" sldId="2134806618"/>
            <ac:spMk id="2" creationId="{8FDA055C-3533-0D3B-FFDA-864B9D86A846}"/>
          </ac:spMkLst>
        </pc:spChg>
        <pc:spChg chg="del">
          <ac:chgData name="Mohamed Ibissi" userId="90b6f8706c8cb808" providerId="LiveId" clId="{0A7FBB52-A209-4350-A6C8-DCE7C2CB10A7}" dt="2024-11-10T16:13:58.617" v="1314" actId="478"/>
          <ac:spMkLst>
            <pc:docMk/>
            <pc:sldMk cId="3242089956" sldId="2134806618"/>
            <ac:spMk id="5" creationId="{C42B67D8-AF8D-CC3D-C8DD-FBC81B08DCD4}"/>
          </ac:spMkLst>
        </pc:spChg>
        <pc:spChg chg="del">
          <ac:chgData name="Mohamed Ibissi" userId="90b6f8706c8cb808" providerId="LiveId" clId="{0A7FBB52-A209-4350-A6C8-DCE7C2CB10A7}" dt="2024-11-10T16:13:58.617" v="1314" actId="478"/>
          <ac:spMkLst>
            <pc:docMk/>
            <pc:sldMk cId="3242089956" sldId="2134806618"/>
            <ac:spMk id="7" creationId="{E8E48C89-DDD2-B937-999B-C18A04EC557E}"/>
          </ac:spMkLst>
        </pc:spChg>
        <pc:spChg chg="add mod">
          <ac:chgData name="Mohamed Ibissi" userId="90b6f8706c8cb808" providerId="LiveId" clId="{0A7FBB52-A209-4350-A6C8-DCE7C2CB10A7}" dt="2024-11-10T16:15:08.710" v="1345" actId="1076"/>
          <ac:spMkLst>
            <pc:docMk/>
            <pc:sldMk cId="3242089956" sldId="2134806618"/>
            <ac:spMk id="8" creationId="{442C17A4-661A-8804-7466-4DA042F26041}"/>
          </ac:spMkLst>
        </pc:spChg>
        <pc:spChg chg="add mod">
          <ac:chgData name="Mohamed Ibissi" userId="90b6f8706c8cb808" providerId="LiveId" clId="{0A7FBB52-A209-4350-A6C8-DCE7C2CB10A7}" dt="2024-11-10T16:14:35.927" v="1320"/>
          <ac:spMkLst>
            <pc:docMk/>
            <pc:sldMk cId="3242089956" sldId="2134806618"/>
            <ac:spMk id="9" creationId="{292E33D2-3173-B6DA-48FE-EB51DD11199B}"/>
          </ac:spMkLst>
        </pc:spChg>
        <pc:spChg chg="add mod">
          <ac:chgData name="Mohamed Ibissi" userId="90b6f8706c8cb808" providerId="LiveId" clId="{0A7FBB52-A209-4350-A6C8-DCE7C2CB10A7}" dt="2024-11-10T16:14:35.927" v="1320"/>
          <ac:spMkLst>
            <pc:docMk/>
            <pc:sldMk cId="3242089956" sldId="2134806618"/>
            <ac:spMk id="10" creationId="{4377C78A-7AB0-4E7F-C980-EA04245D1B27}"/>
          </ac:spMkLst>
        </pc:spChg>
        <pc:spChg chg="add mod">
          <ac:chgData name="Mohamed Ibissi" userId="90b6f8706c8cb808" providerId="LiveId" clId="{0A7FBB52-A209-4350-A6C8-DCE7C2CB10A7}" dt="2024-11-10T16:14:35.927" v="1320"/>
          <ac:spMkLst>
            <pc:docMk/>
            <pc:sldMk cId="3242089956" sldId="2134806618"/>
            <ac:spMk id="11" creationId="{AB88A6C6-DD7F-7313-7FE8-2C38DE0B1865}"/>
          </ac:spMkLst>
        </pc:spChg>
        <pc:spChg chg="add mod">
          <ac:chgData name="Mohamed Ibissi" userId="90b6f8706c8cb808" providerId="LiveId" clId="{0A7FBB52-A209-4350-A6C8-DCE7C2CB10A7}" dt="2024-11-10T16:14:35.927" v="1320"/>
          <ac:spMkLst>
            <pc:docMk/>
            <pc:sldMk cId="3242089956" sldId="2134806618"/>
            <ac:spMk id="13" creationId="{25AD294E-C6CF-6E1D-2A30-7BE1E0B50BAB}"/>
          </ac:spMkLst>
        </pc:spChg>
        <pc:spChg chg="add mod">
          <ac:chgData name="Mohamed Ibissi" userId="90b6f8706c8cb808" providerId="LiveId" clId="{0A7FBB52-A209-4350-A6C8-DCE7C2CB10A7}" dt="2024-11-10T16:15:23.263" v="1349" actId="20577"/>
          <ac:spMkLst>
            <pc:docMk/>
            <pc:sldMk cId="3242089956" sldId="2134806618"/>
            <ac:spMk id="14" creationId="{344E6CEE-5414-A7C4-8F6C-2F330EB79551}"/>
          </ac:spMkLst>
        </pc:spChg>
        <pc:spChg chg="add mod">
          <ac:chgData name="Mohamed Ibissi" userId="90b6f8706c8cb808" providerId="LiveId" clId="{0A7FBB52-A209-4350-A6C8-DCE7C2CB10A7}" dt="2024-11-10T16:15:59.917" v="1353" actId="1076"/>
          <ac:spMkLst>
            <pc:docMk/>
            <pc:sldMk cId="3242089956" sldId="2134806618"/>
            <ac:spMk id="15" creationId="{40AB8F2E-8D53-A0A7-1BEC-804D2F4A1D33}"/>
          </ac:spMkLst>
        </pc:spChg>
        <pc:graphicFrameChg chg="del">
          <ac:chgData name="Mohamed Ibissi" userId="90b6f8706c8cb808" providerId="LiveId" clId="{0A7FBB52-A209-4350-A6C8-DCE7C2CB10A7}" dt="2024-11-11T01:12:13.499" v="2525" actId="478"/>
          <ac:graphicFrameMkLst>
            <pc:docMk/>
            <pc:sldMk cId="3242089956" sldId="2134806618"/>
            <ac:graphicFrameMk id="4" creationId="{61CEA33F-E6A3-97E5-F183-0F1EB9948C13}"/>
          </ac:graphicFrameMkLst>
        </pc:graphicFrameChg>
        <pc:picChg chg="del">
          <ac:chgData name="Mohamed Ibissi" userId="90b6f8706c8cb808" providerId="LiveId" clId="{0A7FBB52-A209-4350-A6C8-DCE7C2CB10A7}" dt="2024-11-10T16:13:58.617" v="1314" actId="478"/>
          <ac:picMkLst>
            <pc:docMk/>
            <pc:sldMk cId="3242089956" sldId="2134806618"/>
            <ac:picMk id="3" creationId="{438820BF-596F-D773-4FFD-B1AEB949A924}"/>
          </ac:picMkLst>
        </pc:picChg>
        <pc:picChg chg="add mod ord">
          <ac:chgData name="Mohamed Ibissi" userId="90b6f8706c8cb808" providerId="LiveId" clId="{0A7FBB52-A209-4350-A6C8-DCE7C2CB10A7}" dt="2024-11-11T01:12:17.610" v="2527" actId="167"/>
          <ac:picMkLst>
            <pc:docMk/>
            <pc:sldMk cId="3242089956" sldId="2134806618"/>
            <ac:picMk id="3" creationId="{A7DA3C8A-9367-93AF-16B1-3DAF8AF94964}"/>
          </ac:picMkLst>
        </pc:picChg>
        <pc:picChg chg="add mod">
          <ac:chgData name="Mohamed Ibissi" userId="90b6f8706c8cb808" providerId="LiveId" clId="{0A7FBB52-A209-4350-A6C8-DCE7C2CB10A7}" dt="2024-11-11T01:12:32.806" v="2529" actId="14100"/>
          <ac:picMkLst>
            <pc:docMk/>
            <pc:sldMk cId="3242089956" sldId="2134806618"/>
            <ac:picMk id="6" creationId="{9B00143F-CF4B-017A-6864-41A1AF11C192}"/>
          </ac:picMkLst>
        </pc:picChg>
      </pc:sldChg>
      <pc:sldChg chg="addSp delSp modSp mod">
        <pc:chgData name="Mohamed Ibissi" userId="90b6f8706c8cb808" providerId="LiveId" clId="{0A7FBB52-A209-4350-A6C8-DCE7C2CB10A7}" dt="2024-11-11T01:12:42.250" v="2532" actId="167"/>
        <pc:sldMkLst>
          <pc:docMk/>
          <pc:sldMk cId="2245035845" sldId="2134806619"/>
        </pc:sldMkLst>
        <pc:graphicFrameChg chg="del">
          <ac:chgData name="Mohamed Ibissi" userId="90b6f8706c8cb808" providerId="LiveId" clId="{0A7FBB52-A209-4350-A6C8-DCE7C2CB10A7}" dt="2024-11-11T01:12:39.326" v="2530" actId="478"/>
          <ac:graphicFrameMkLst>
            <pc:docMk/>
            <pc:sldMk cId="2245035845" sldId="2134806619"/>
            <ac:graphicFrameMk id="4" creationId="{B5E3F5D8-8F86-EC27-54D0-054B10721F4B}"/>
          </ac:graphicFrameMkLst>
        </pc:graphicFrameChg>
        <pc:picChg chg="add mod ord">
          <ac:chgData name="Mohamed Ibissi" userId="90b6f8706c8cb808" providerId="LiveId" clId="{0A7FBB52-A209-4350-A6C8-DCE7C2CB10A7}" dt="2024-11-11T01:12:42.250" v="2532" actId="167"/>
          <ac:picMkLst>
            <pc:docMk/>
            <pc:sldMk cId="2245035845" sldId="2134806619"/>
            <ac:picMk id="5" creationId="{95705CEC-B910-5EE1-076A-098F183AE2FC}"/>
          </ac:picMkLst>
        </pc:picChg>
      </pc:sldChg>
      <pc:sldChg chg="addSp delSp modSp mod">
        <pc:chgData name="Mohamed Ibissi" userId="90b6f8706c8cb808" providerId="LiveId" clId="{0A7FBB52-A209-4350-A6C8-DCE7C2CB10A7}" dt="2024-11-11T01:12:57.054" v="2535" actId="167"/>
        <pc:sldMkLst>
          <pc:docMk/>
          <pc:sldMk cId="2347170905" sldId="2134806620"/>
        </pc:sldMkLst>
        <pc:graphicFrameChg chg="del">
          <ac:chgData name="Mohamed Ibissi" userId="90b6f8706c8cb808" providerId="LiveId" clId="{0A7FBB52-A209-4350-A6C8-DCE7C2CB10A7}" dt="2024-11-11T01:12:51.474" v="2533" actId="478"/>
          <ac:graphicFrameMkLst>
            <pc:docMk/>
            <pc:sldMk cId="2347170905" sldId="2134806620"/>
            <ac:graphicFrameMk id="4" creationId="{D89FE928-0065-4A2A-657C-E5F8584BAC04}"/>
          </ac:graphicFrameMkLst>
        </pc:graphicFrameChg>
        <pc:picChg chg="add mod ord">
          <ac:chgData name="Mohamed Ibissi" userId="90b6f8706c8cb808" providerId="LiveId" clId="{0A7FBB52-A209-4350-A6C8-DCE7C2CB10A7}" dt="2024-11-11T01:12:57.054" v="2535" actId="167"/>
          <ac:picMkLst>
            <pc:docMk/>
            <pc:sldMk cId="2347170905" sldId="2134806620"/>
            <ac:picMk id="3" creationId="{6E53B969-F2A3-AFF2-ECD3-BB5A466320FC}"/>
          </ac:picMkLst>
        </pc:picChg>
      </pc:sldChg>
      <pc:sldChg chg="addSp delSp modSp mod">
        <pc:chgData name="Mohamed Ibissi" userId="90b6f8706c8cb808" providerId="LiveId" clId="{0A7FBB52-A209-4350-A6C8-DCE7C2CB10A7}" dt="2024-11-11T01:13:08.280" v="2538" actId="167"/>
        <pc:sldMkLst>
          <pc:docMk/>
          <pc:sldMk cId="4086421249" sldId="2134806621"/>
        </pc:sldMkLst>
        <pc:graphicFrameChg chg="del">
          <ac:chgData name="Mohamed Ibissi" userId="90b6f8706c8cb808" providerId="LiveId" clId="{0A7FBB52-A209-4350-A6C8-DCE7C2CB10A7}" dt="2024-11-11T01:13:03.123" v="2536" actId="478"/>
          <ac:graphicFrameMkLst>
            <pc:docMk/>
            <pc:sldMk cId="4086421249" sldId="2134806621"/>
            <ac:graphicFrameMk id="4" creationId="{55B6E13B-1053-018F-8DE8-DA66EA91D03B}"/>
          </ac:graphicFrameMkLst>
        </pc:graphicFrameChg>
        <pc:picChg chg="add mod ord">
          <ac:chgData name="Mohamed Ibissi" userId="90b6f8706c8cb808" providerId="LiveId" clId="{0A7FBB52-A209-4350-A6C8-DCE7C2CB10A7}" dt="2024-11-11T01:13:08.280" v="2538" actId="167"/>
          <ac:picMkLst>
            <pc:docMk/>
            <pc:sldMk cId="4086421249" sldId="2134806621"/>
            <ac:picMk id="5" creationId="{A4515FC0-A034-26CD-C8AD-813E46230D7D}"/>
          </ac:picMkLst>
        </pc:picChg>
      </pc:sldChg>
      <pc:sldChg chg="addSp delSp modSp mod modAnim">
        <pc:chgData name="Mohamed Ibissi" userId="90b6f8706c8cb808" providerId="LiveId" clId="{0A7FBB52-A209-4350-A6C8-DCE7C2CB10A7}" dt="2024-11-11T01:13:34.138" v="2543" actId="14100"/>
        <pc:sldMkLst>
          <pc:docMk/>
          <pc:sldMk cId="878864199" sldId="2134806622"/>
        </pc:sldMkLst>
        <pc:spChg chg="mod">
          <ac:chgData name="Mohamed Ibissi" userId="90b6f8706c8cb808" providerId="LiveId" clId="{0A7FBB52-A209-4350-A6C8-DCE7C2CB10A7}" dt="2024-11-10T16:17:03.841" v="1391" actId="20577"/>
          <ac:spMkLst>
            <pc:docMk/>
            <pc:sldMk cId="878864199" sldId="2134806622"/>
            <ac:spMk id="2" creationId="{7F10ED17-27B2-B3B4-AD85-02A9156F2B18}"/>
          </ac:spMkLst>
        </pc:spChg>
        <pc:spChg chg="add mod">
          <ac:chgData name="Mohamed Ibissi" userId="90b6f8706c8cb808" providerId="LiveId" clId="{0A7FBB52-A209-4350-A6C8-DCE7C2CB10A7}" dt="2024-11-10T16:16:25.526" v="1355"/>
          <ac:spMkLst>
            <pc:docMk/>
            <pc:sldMk cId="878864199" sldId="2134806622"/>
            <ac:spMk id="6" creationId="{B1B1BEAA-1F5D-3A27-1957-9B5BFEC9DEAF}"/>
          </ac:spMkLst>
        </pc:spChg>
        <pc:spChg chg="del">
          <ac:chgData name="Mohamed Ibissi" userId="90b6f8706c8cb808" providerId="LiveId" clId="{0A7FBB52-A209-4350-A6C8-DCE7C2CB10A7}" dt="2024-11-10T16:16:25.010" v="1354" actId="478"/>
          <ac:spMkLst>
            <pc:docMk/>
            <pc:sldMk cId="878864199" sldId="2134806622"/>
            <ac:spMk id="7" creationId="{F5B09D75-B022-60C8-1815-7D87DDDB8099}"/>
          </ac:spMkLst>
        </pc:spChg>
        <pc:spChg chg="add mod">
          <ac:chgData name="Mohamed Ibissi" userId="90b6f8706c8cb808" providerId="LiveId" clId="{0A7FBB52-A209-4350-A6C8-DCE7C2CB10A7}" dt="2024-11-10T16:16:25.526" v="1355"/>
          <ac:spMkLst>
            <pc:docMk/>
            <pc:sldMk cId="878864199" sldId="2134806622"/>
            <ac:spMk id="11" creationId="{53A074FC-0FAC-554E-C697-42BF36732446}"/>
          </ac:spMkLst>
        </pc:spChg>
        <pc:spChg chg="add mod">
          <ac:chgData name="Mohamed Ibissi" userId="90b6f8706c8cb808" providerId="LiveId" clId="{0A7FBB52-A209-4350-A6C8-DCE7C2CB10A7}" dt="2024-11-10T16:16:25.526" v="1355"/>
          <ac:spMkLst>
            <pc:docMk/>
            <pc:sldMk cId="878864199" sldId="2134806622"/>
            <ac:spMk id="12" creationId="{47F34854-1C3D-D6D9-F8FF-2BFAFD674C5D}"/>
          </ac:spMkLst>
        </pc:spChg>
        <pc:spChg chg="add mod">
          <ac:chgData name="Mohamed Ibissi" userId="90b6f8706c8cb808" providerId="LiveId" clId="{0A7FBB52-A209-4350-A6C8-DCE7C2CB10A7}" dt="2024-11-10T16:16:25.526" v="1355"/>
          <ac:spMkLst>
            <pc:docMk/>
            <pc:sldMk cId="878864199" sldId="2134806622"/>
            <ac:spMk id="13" creationId="{6A1866D3-6831-4B5B-3B29-BB6AF96A93AE}"/>
          </ac:spMkLst>
        </pc:spChg>
        <pc:spChg chg="add mod">
          <ac:chgData name="Mohamed Ibissi" userId="90b6f8706c8cb808" providerId="LiveId" clId="{0A7FBB52-A209-4350-A6C8-DCE7C2CB10A7}" dt="2024-11-10T16:16:25.526" v="1355"/>
          <ac:spMkLst>
            <pc:docMk/>
            <pc:sldMk cId="878864199" sldId="2134806622"/>
            <ac:spMk id="14" creationId="{C8902E51-8631-1570-16C7-84FC7CACDA4B}"/>
          </ac:spMkLst>
        </pc:spChg>
        <pc:spChg chg="add mod">
          <ac:chgData name="Mohamed Ibissi" userId="90b6f8706c8cb808" providerId="LiveId" clId="{0A7FBB52-A209-4350-A6C8-DCE7C2CB10A7}" dt="2024-11-10T16:16:25.526" v="1355"/>
          <ac:spMkLst>
            <pc:docMk/>
            <pc:sldMk cId="878864199" sldId="2134806622"/>
            <ac:spMk id="15" creationId="{D4B4A0D8-9ABD-A75F-5800-D4037963FE7D}"/>
          </ac:spMkLst>
        </pc:spChg>
        <pc:spChg chg="add del mod">
          <ac:chgData name="Mohamed Ibissi" userId="90b6f8706c8cb808" providerId="LiveId" clId="{0A7FBB52-A209-4350-A6C8-DCE7C2CB10A7}" dt="2024-11-10T16:16:30.746" v="1356" actId="478"/>
          <ac:spMkLst>
            <pc:docMk/>
            <pc:sldMk cId="878864199" sldId="2134806622"/>
            <ac:spMk id="16" creationId="{DB61DE26-32D0-8839-93F1-74B9C8E6E2EE}"/>
          </ac:spMkLst>
        </pc:spChg>
        <pc:spChg chg="add mod">
          <ac:chgData name="Mohamed Ibissi" userId="90b6f8706c8cb808" providerId="LiveId" clId="{0A7FBB52-A209-4350-A6C8-DCE7C2CB10A7}" dt="2024-11-10T16:16:41.971" v="1363" actId="20577"/>
          <ac:spMkLst>
            <pc:docMk/>
            <pc:sldMk cId="878864199" sldId="2134806622"/>
            <ac:spMk id="17" creationId="{DE4777B0-6F4E-F2EE-0F52-D14616C449A9}"/>
          </ac:spMkLst>
        </pc:spChg>
        <pc:graphicFrameChg chg="del">
          <ac:chgData name="Mohamed Ibissi" userId="90b6f8706c8cb808" providerId="LiveId" clId="{0A7FBB52-A209-4350-A6C8-DCE7C2CB10A7}" dt="2024-11-11T01:13:19.082" v="2539" actId="478"/>
          <ac:graphicFrameMkLst>
            <pc:docMk/>
            <pc:sldMk cId="878864199" sldId="2134806622"/>
            <ac:graphicFrameMk id="4" creationId="{19007BEC-CF90-BA6E-4E8A-1FEDDE84309B}"/>
          </ac:graphicFrameMkLst>
        </pc:graphicFrameChg>
        <pc:picChg chg="add mod">
          <ac:chgData name="Mohamed Ibissi" userId="90b6f8706c8cb808" providerId="LiveId" clId="{0A7FBB52-A209-4350-A6C8-DCE7C2CB10A7}" dt="2024-11-11T01:13:34.138" v="2543" actId="14100"/>
          <ac:picMkLst>
            <pc:docMk/>
            <pc:sldMk cId="878864199" sldId="2134806622"/>
            <ac:picMk id="3" creationId="{5E370270-4109-BF38-C65E-626BF1917899}"/>
          </ac:picMkLst>
        </pc:picChg>
        <pc:picChg chg="del">
          <ac:chgData name="Mohamed Ibissi" userId="90b6f8706c8cb808" providerId="LiveId" clId="{0A7FBB52-A209-4350-A6C8-DCE7C2CB10A7}" dt="2024-11-10T16:16:25.010" v="1354" actId="478"/>
          <ac:picMkLst>
            <pc:docMk/>
            <pc:sldMk cId="878864199" sldId="2134806622"/>
            <ac:picMk id="5" creationId="{B7FFDA4D-27E6-F96D-FDF5-AA00A87A26F8}"/>
          </ac:picMkLst>
        </pc:picChg>
        <pc:picChg chg="add mod ord">
          <ac:chgData name="Mohamed Ibissi" userId="90b6f8706c8cb808" providerId="LiveId" clId="{0A7FBB52-A209-4350-A6C8-DCE7C2CB10A7}" dt="2024-11-11T01:13:22.947" v="2541" actId="167"/>
          <ac:picMkLst>
            <pc:docMk/>
            <pc:sldMk cId="878864199" sldId="2134806622"/>
            <ac:picMk id="5" creationId="{BDE6C08C-18B2-78FC-F682-B4F3EE8478CF}"/>
          </ac:picMkLst>
        </pc:picChg>
        <pc:picChg chg="del">
          <ac:chgData name="Mohamed Ibissi" userId="90b6f8706c8cb808" providerId="LiveId" clId="{0A7FBB52-A209-4350-A6C8-DCE7C2CB10A7}" dt="2024-11-10T16:16:25.010" v="1354" actId="478"/>
          <ac:picMkLst>
            <pc:docMk/>
            <pc:sldMk cId="878864199" sldId="2134806622"/>
            <ac:picMk id="9" creationId="{1F25CB59-FF3E-4FD3-98EB-78A9AE3A381B}"/>
          </ac:picMkLst>
        </pc:picChg>
        <pc:picChg chg="del">
          <ac:chgData name="Mohamed Ibissi" userId="90b6f8706c8cb808" providerId="LiveId" clId="{0A7FBB52-A209-4350-A6C8-DCE7C2CB10A7}" dt="2024-11-10T16:16:25.010" v="1354" actId="478"/>
          <ac:picMkLst>
            <pc:docMk/>
            <pc:sldMk cId="878864199" sldId="2134806622"/>
            <ac:picMk id="10" creationId="{FBB72F85-8EE5-1CB3-2E7C-58E238897D45}"/>
          </ac:picMkLst>
        </pc:picChg>
      </pc:sldChg>
      <pc:sldChg chg="del ord">
        <pc:chgData name="Mohamed Ibissi" userId="90b6f8706c8cb808" providerId="LiveId" clId="{0A7FBB52-A209-4350-A6C8-DCE7C2CB10A7}" dt="2024-11-10T16:17:59.435" v="1397" actId="47"/>
        <pc:sldMkLst>
          <pc:docMk/>
          <pc:sldMk cId="3917923271" sldId="2134806623"/>
        </pc:sldMkLst>
      </pc:sldChg>
      <pc:sldChg chg="addSp delSp modSp add mod">
        <pc:chgData name="Mohamed Ibissi" userId="90b6f8706c8cb808" providerId="LiveId" clId="{0A7FBB52-A209-4350-A6C8-DCE7C2CB10A7}" dt="2024-11-11T00:55:11.529" v="2323" actId="1076"/>
        <pc:sldMkLst>
          <pc:docMk/>
          <pc:sldMk cId="1117548044" sldId="2134806624"/>
        </pc:sldMkLst>
        <pc:spChg chg="mod">
          <ac:chgData name="Mohamed Ibissi" userId="90b6f8706c8cb808" providerId="LiveId" clId="{0A7FBB52-A209-4350-A6C8-DCE7C2CB10A7}" dt="2024-11-10T03:37:39.784" v="145" actId="20577"/>
          <ac:spMkLst>
            <pc:docMk/>
            <pc:sldMk cId="1117548044" sldId="2134806624"/>
            <ac:spMk id="3" creationId="{37837560-CF92-D3E8-B758-27E60C3721F3}"/>
          </ac:spMkLst>
        </pc:spChg>
        <pc:spChg chg="mod">
          <ac:chgData name="Mohamed Ibissi" userId="90b6f8706c8cb808" providerId="LiveId" clId="{0A7FBB52-A209-4350-A6C8-DCE7C2CB10A7}" dt="2024-11-10T03:39:57.640" v="196" actId="20577"/>
          <ac:spMkLst>
            <pc:docMk/>
            <pc:sldMk cId="1117548044" sldId="2134806624"/>
            <ac:spMk id="8" creationId="{EF73FB54-B77A-FE0B-A16A-23A93A9294FA}"/>
          </ac:spMkLst>
        </pc:spChg>
        <pc:graphicFrameChg chg="del">
          <ac:chgData name="Mohamed Ibissi" userId="90b6f8706c8cb808" providerId="LiveId" clId="{0A7FBB52-A209-4350-A6C8-DCE7C2CB10A7}" dt="2024-11-11T00:54:32.769" v="2317" actId="478"/>
          <ac:graphicFrameMkLst>
            <pc:docMk/>
            <pc:sldMk cId="1117548044" sldId="2134806624"/>
            <ac:graphicFrameMk id="4" creationId="{DC6A0A6C-5832-393E-8DA5-4D042735DA4B}"/>
          </ac:graphicFrameMkLst>
        </pc:graphicFrameChg>
        <pc:picChg chg="mod">
          <ac:chgData name="Mohamed Ibissi" userId="90b6f8706c8cb808" providerId="LiveId" clId="{0A7FBB52-A209-4350-A6C8-DCE7C2CB10A7}" dt="2024-11-11T00:55:11.529" v="2323" actId="1076"/>
          <ac:picMkLst>
            <pc:docMk/>
            <pc:sldMk cId="1117548044" sldId="2134806624"/>
            <ac:picMk id="2" creationId="{F93DF5E9-8C9A-9405-8D6B-2C92BDBA6C2A}"/>
          </ac:picMkLst>
        </pc:picChg>
        <pc:picChg chg="add mod ord">
          <ac:chgData name="Mohamed Ibissi" userId="90b6f8706c8cb808" providerId="LiveId" clId="{0A7FBB52-A209-4350-A6C8-DCE7C2CB10A7}" dt="2024-11-11T00:54:45.574" v="2320" actId="166"/>
          <ac:picMkLst>
            <pc:docMk/>
            <pc:sldMk cId="1117548044" sldId="2134806624"/>
            <ac:picMk id="6" creationId="{429B4E6D-5308-4088-40FD-4C4CCF98452C}"/>
          </ac:picMkLst>
        </pc:picChg>
        <pc:picChg chg="add mod ord">
          <ac:chgData name="Mohamed Ibissi" userId="90b6f8706c8cb808" providerId="LiveId" clId="{0A7FBB52-A209-4350-A6C8-DCE7C2CB10A7}" dt="2024-11-11T00:54:54.001" v="2322" actId="167"/>
          <ac:picMkLst>
            <pc:docMk/>
            <pc:sldMk cId="1117548044" sldId="2134806624"/>
            <ac:picMk id="7" creationId="{6E1B1C51-AD09-3021-2B6A-D4366B460668}"/>
          </ac:picMkLst>
        </pc:picChg>
      </pc:sldChg>
      <pc:sldChg chg="addSp delSp modSp add mod replId">
        <pc:chgData name="Mohamed Ibissi" userId="90b6f8706c8cb808" providerId="LiveId" clId="{0A7FBB52-A209-4350-A6C8-DCE7C2CB10A7}" dt="2024-11-11T00:55:38.230" v="2327" actId="167"/>
        <pc:sldMkLst>
          <pc:docMk/>
          <pc:sldMk cId="3623553298" sldId="2134806625"/>
        </pc:sldMkLst>
        <pc:spChg chg="mod">
          <ac:chgData name="Mohamed Ibissi" userId="90b6f8706c8cb808" providerId="LiveId" clId="{0A7FBB52-A209-4350-A6C8-DCE7C2CB10A7}" dt="2024-11-10T03:40:23.647" v="201" actId="20577"/>
          <ac:spMkLst>
            <pc:docMk/>
            <pc:sldMk cId="3623553298" sldId="2134806625"/>
            <ac:spMk id="3" creationId="{2A34BFEF-F5AD-E281-1682-BF7B9F44A272}"/>
          </ac:spMkLst>
        </pc:spChg>
        <pc:spChg chg="mod">
          <ac:chgData name="Mohamed Ibissi" userId="90b6f8706c8cb808" providerId="LiveId" clId="{0A7FBB52-A209-4350-A6C8-DCE7C2CB10A7}" dt="2024-11-10T03:40:08.351" v="197" actId="20577"/>
          <ac:spMkLst>
            <pc:docMk/>
            <pc:sldMk cId="3623553298" sldId="2134806625"/>
            <ac:spMk id="5" creationId="{E0E85DBE-B20B-9BD5-C634-8C72D09AA799}"/>
          </ac:spMkLst>
        </pc:spChg>
        <pc:spChg chg="mod">
          <ac:chgData name="Mohamed Ibissi" userId="90b6f8706c8cb808" providerId="LiveId" clId="{0A7FBB52-A209-4350-A6C8-DCE7C2CB10A7}" dt="2024-11-10T03:40:12.870" v="198" actId="20577"/>
          <ac:spMkLst>
            <pc:docMk/>
            <pc:sldMk cId="3623553298" sldId="2134806625"/>
            <ac:spMk id="7" creationId="{8923C74C-DC45-CDA2-8F1A-0BF0F902E129}"/>
          </ac:spMkLst>
        </pc:spChg>
        <pc:spChg chg="add mod">
          <ac:chgData name="Mohamed Ibissi" userId="90b6f8706c8cb808" providerId="LiveId" clId="{0A7FBB52-A209-4350-A6C8-DCE7C2CB10A7}" dt="2024-11-10T03:39:43.753" v="195" actId="1038"/>
          <ac:spMkLst>
            <pc:docMk/>
            <pc:sldMk cId="3623553298" sldId="2134806625"/>
            <ac:spMk id="8" creationId="{B5602F2E-4387-7F42-4D6B-7B64EEC89940}"/>
          </ac:spMkLst>
        </pc:spChg>
        <pc:spChg chg="add mod">
          <ac:chgData name="Mohamed Ibissi" userId="90b6f8706c8cb808" providerId="LiveId" clId="{0A7FBB52-A209-4350-A6C8-DCE7C2CB10A7}" dt="2024-11-10T03:39:43.753" v="195" actId="1038"/>
          <ac:spMkLst>
            <pc:docMk/>
            <pc:sldMk cId="3623553298" sldId="2134806625"/>
            <ac:spMk id="10" creationId="{FFEBA945-8726-0981-8A5B-B6D80D06E1D0}"/>
          </ac:spMkLst>
        </pc:spChg>
        <pc:spChg chg="add mod">
          <ac:chgData name="Mohamed Ibissi" userId="90b6f8706c8cb808" providerId="LiveId" clId="{0A7FBB52-A209-4350-A6C8-DCE7C2CB10A7}" dt="2024-11-10T03:39:43.753" v="195" actId="1038"/>
          <ac:spMkLst>
            <pc:docMk/>
            <pc:sldMk cId="3623553298" sldId="2134806625"/>
            <ac:spMk id="11" creationId="{B0AA6849-C413-EF73-1F02-FDB1ED63048B}"/>
          </ac:spMkLst>
        </pc:spChg>
        <pc:graphicFrameChg chg="del">
          <ac:chgData name="Mohamed Ibissi" userId="90b6f8706c8cb808" providerId="LiveId" clId="{0A7FBB52-A209-4350-A6C8-DCE7C2CB10A7}" dt="2024-11-11T00:55:32.743" v="2325" actId="478"/>
          <ac:graphicFrameMkLst>
            <pc:docMk/>
            <pc:sldMk cId="3623553298" sldId="2134806625"/>
            <ac:graphicFrameMk id="4" creationId="{06F98477-42BD-E42B-4490-4EFD9F7EA7CF}"/>
          </ac:graphicFrameMkLst>
        </pc:graphicFrameChg>
        <pc:picChg chg="add mod ord">
          <ac:chgData name="Mohamed Ibissi" userId="90b6f8706c8cb808" providerId="LiveId" clId="{0A7FBB52-A209-4350-A6C8-DCE7C2CB10A7}" dt="2024-11-11T00:55:38.230" v="2327" actId="167"/>
          <ac:picMkLst>
            <pc:docMk/>
            <pc:sldMk cId="3623553298" sldId="2134806625"/>
            <ac:picMk id="12" creationId="{F0B68957-D6EE-A89B-7FBC-1016EC3664E8}"/>
          </ac:picMkLst>
        </pc:picChg>
      </pc:sldChg>
      <pc:sldChg chg="addSp delSp modSp add mod">
        <pc:chgData name="Mohamed Ibissi" userId="90b6f8706c8cb808" providerId="LiveId" clId="{0A7FBB52-A209-4350-A6C8-DCE7C2CB10A7}" dt="2024-11-11T00:56:03.325" v="2331" actId="1076"/>
        <pc:sldMkLst>
          <pc:docMk/>
          <pc:sldMk cId="1684600561" sldId="2134806626"/>
        </pc:sldMkLst>
        <pc:spChg chg="mod">
          <ac:chgData name="Mohamed Ibissi" userId="90b6f8706c8cb808" providerId="LiveId" clId="{0A7FBB52-A209-4350-A6C8-DCE7C2CB10A7}" dt="2024-11-10T03:40:42.598" v="203" actId="20577"/>
          <ac:spMkLst>
            <pc:docMk/>
            <pc:sldMk cId="1684600561" sldId="2134806626"/>
            <ac:spMk id="9" creationId="{A77E8684-B07F-3447-4D58-699A3C343B1F}"/>
          </ac:spMkLst>
        </pc:spChg>
        <pc:graphicFrameChg chg="del">
          <ac:chgData name="Mohamed Ibissi" userId="90b6f8706c8cb808" providerId="LiveId" clId="{0A7FBB52-A209-4350-A6C8-DCE7C2CB10A7}" dt="2024-11-11T00:55:56.492" v="2328" actId="478"/>
          <ac:graphicFrameMkLst>
            <pc:docMk/>
            <pc:sldMk cId="1684600561" sldId="2134806626"/>
            <ac:graphicFrameMk id="4" creationId="{E9E16D1B-11D6-7195-6F5A-0B49452A140F}"/>
          </ac:graphicFrameMkLst>
        </pc:graphicFrameChg>
        <pc:picChg chg="mod">
          <ac:chgData name="Mohamed Ibissi" userId="90b6f8706c8cb808" providerId="LiveId" clId="{0A7FBB52-A209-4350-A6C8-DCE7C2CB10A7}" dt="2024-11-11T00:56:03.325" v="2331" actId="1076"/>
          <ac:picMkLst>
            <pc:docMk/>
            <pc:sldMk cId="1684600561" sldId="2134806626"/>
            <ac:picMk id="2" creationId="{F54AD8F8-7110-5984-3AC6-302562D2CF22}"/>
          </ac:picMkLst>
        </pc:picChg>
        <pc:picChg chg="add mod ord">
          <ac:chgData name="Mohamed Ibissi" userId="90b6f8706c8cb808" providerId="LiveId" clId="{0A7FBB52-A209-4350-A6C8-DCE7C2CB10A7}" dt="2024-11-11T00:56:00.995" v="2330" actId="167"/>
          <ac:picMkLst>
            <pc:docMk/>
            <pc:sldMk cId="1684600561" sldId="2134806626"/>
            <ac:picMk id="6" creationId="{068E6A1B-3345-D25C-A3E5-40A095F6DB28}"/>
          </ac:picMkLst>
        </pc:picChg>
      </pc:sldChg>
      <pc:sldChg chg="addSp delSp modSp add mod replId">
        <pc:chgData name="Mohamed Ibissi" userId="90b6f8706c8cb808" providerId="LiveId" clId="{0A7FBB52-A209-4350-A6C8-DCE7C2CB10A7}" dt="2024-11-11T00:56:15.692" v="2334" actId="167"/>
        <pc:sldMkLst>
          <pc:docMk/>
          <pc:sldMk cId="2797036826" sldId="2134806627"/>
        </pc:sldMkLst>
        <pc:spChg chg="mod">
          <ac:chgData name="Mohamed Ibissi" userId="90b6f8706c8cb808" providerId="LiveId" clId="{0A7FBB52-A209-4350-A6C8-DCE7C2CB10A7}" dt="2024-11-10T03:41:11.827" v="228" actId="6549"/>
          <ac:spMkLst>
            <pc:docMk/>
            <pc:sldMk cId="2797036826" sldId="2134806627"/>
            <ac:spMk id="3" creationId="{E92DD617-D6EE-4DC2-BF99-E3F5D5358628}"/>
          </ac:spMkLst>
        </pc:spChg>
        <pc:spChg chg="mod">
          <ac:chgData name="Mohamed Ibissi" userId="90b6f8706c8cb808" providerId="LiveId" clId="{0A7FBB52-A209-4350-A6C8-DCE7C2CB10A7}" dt="2024-11-10T03:40:54.965" v="204" actId="20577"/>
          <ac:spMkLst>
            <pc:docMk/>
            <pc:sldMk cId="2797036826" sldId="2134806627"/>
            <ac:spMk id="6" creationId="{1A4A346C-4BAE-61AD-C099-C9DBFFF74C0F}"/>
          </ac:spMkLst>
        </pc:spChg>
        <pc:spChg chg="mod">
          <ac:chgData name="Mohamed Ibissi" userId="90b6f8706c8cb808" providerId="LiveId" clId="{0A7FBB52-A209-4350-A6C8-DCE7C2CB10A7}" dt="2024-11-10T03:40:57.749" v="205" actId="20577"/>
          <ac:spMkLst>
            <pc:docMk/>
            <pc:sldMk cId="2797036826" sldId="2134806627"/>
            <ac:spMk id="7" creationId="{A1B18B04-C21A-1AA6-4A86-CB942074506C}"/>
          </ac:spMkLst>
        </pc:spChg>
        <pc:spChg chg="mod">
          <ac:chgData name="Mohamed Ibissi" userId="90b6f8706c8cb808" providerId="LiveId" clId="{0A7FBB52-A209-4350-A6C8-DCE7C2CB10A7}" dt="2024-11-10T03:41:18.974" v="229" actId="207"/>
          <ac:spMkLst>
            <pc:docMk/>
            <pc:sldMk cId="2797036826" sldId="2134806627"/>
            <ac:spMk id="10" creationId="{B7FF82A1-F3E0-29C0-3CD2-893F40FC0905}"/>
          </ac:spMkLst>
        </pc:spChg>
        <pc:graphicFrameChg chg="del">
          <ac:chgData name="Mohamed Ibissi" userId="90b6f8706c8cb808" providerId="LiveId" clId="{0A7FBB52-A209-4350-A6C8-DCE7C2CB10A7}" dt="2024-11-11T00:56:10.251" v="2332" actId="478"/>
          <ac:graphicFrameMkLst>
            <pc:docMk/>
            <pc:sldMk cId="2797036826" sldId="2134806627"/>
            <ac:graphicFrameMk id="4" creationId="{6284655F-61C8-86D2-1732-A3176F4B59ED}"/>
          </ac:graphicFrameMkLst>
        </pc:graphicFrameChg>
        <pc:picChg chg="add mod ord">
          <ac:chgData name="Mohamed Ibissi" userId="90b6f8706c8cb808" providerId="LiveId" clId="{0A7FBB52-A209-4350-A6C8-DCE7C2CB10A7}" dt="2024-11-11T00:56:15.692" v="2334" actId="167"/>
          <ac:picMkLst>
            <pc:docMk/>
            <pc:sldMk cId="2797036826" sldId="2134806627"/>
            <ac:picMk id="12" creationId="{3A25341C-CAA3-671E-EB76-65B9CD646A5D}"/>
          </ac:picMkLst>
        </pc:picChg>
      </pc:sldChg>
      <pc:sldChg chg="addSp delSp modSp add mod modAnim">
        <pc:chgData name="Mohamed Ibissi" userId="90b6f8706c8cb808" providerId="LiveId" clId="{0A7FBB52-A209-4350-A6C8-DCE7C2CB10A7}" dt="2024-11-12T15:08:53.100" v="2717"/>
        <pc:sldMkLst>
          <pc:docMk/>
          <pc:sldMk cId="1017737842" sldId="2134806628"/>
        </pc:sldMkLst>
        <pc:spChg chg="mod">
          <ac:chgData name="Mohamed Ibissi" userId="90b6f8706c8cb808" providerId="LiveId" clId="{0A7FBB52-A209-4350-A6C8-DCE7C2CB10A7}" dt="2024-11-12T15:08:53.100" v="2717"/>
          <ac:spMkLst>
            <pc:docMk/>
            <pc:sldMk cId="1017737842" sldId="2134806628"/>
            <ac:spMk id="2" creationId="{CB2595D2-9FCC-B0A8-C68F-C6C2823F3324}"/>
          </ac:spMkLst>
        </pc:spChg>
        <pc:spChg chg="add mod">
          <ac:chgData name="Mohamed Ibissi" userId="90b6f8706c8cb808" providerId="LiveId" clId="{0A7FBB52-A209-4350-A6C8-DCE7C2CB10A7}" dt="2024-11-10T14:24:11.361" v="821"/>
          <ac:spMkLst>
            <pc:docMk/>
            <pc:sldMk cId="1017737842" sldId="2134806628"/>
            <ac:spMk id="3" creationId="{99935536-028D-1F3F-3BE4-45A209BCF769}"/>
          </ac:spMkLst>
        </pc:spChg>
        <pc:spChg chg="mod">
          <ac:chgData name="Mohamed Ibissi" userId="90b6f8706c8cb808" providerId="LiveId" clId="{0A7FBB52-A209-4350-A6C8-DCE7C2CB10A7}" dt="2024-11-10T14:24:28.518" v="876" actId="1037"/>
          <ac:spMkLst>
            <pc:docMk/>
            <pc:sldMk cId="1017737842" sldId="2134806628"/>
            <ac:spMk id="11" creationId="{EA63C74D-AA19-18AA-E59D-6E2D8CD6F425}"/>
          </ac:spMkLst>
        </pc:spChg>
        <pc:spChg chg="mod">
          <ac:chgData name="Mohamed Ibissi" userId="90b6f8706c8cb808" providerId="LiveId" clId="{0A7FBB52-A209-4350-A6C8-DCE7C2CB10A7}" dt="2024-11-10T14:24:31.754" v="877" actId="1076"/>
          <ac:spMkLst>
            <pc:docMk/>
            <pc:sldMk cId="1017737842" sldId="2134806628"/>
            <ac:spMk id="13" creationId="{CA1DB4D2-E1D4-C326-AC7D-2853D2CA879E}"/>
          </ac:spMkLst>
        </pc:spChg>
        <pc:graphicFrameChg chg="del">
          <ac:chgData name="Mohamed Ibissi" userId="90b6f8706c8cb808" providerId="LiveId" clId="{0A7FBB52-A209-4350-A6C8-DCE7C2CB10A7}" dt="2024-11-11T01:05:13.290" v="2439" actId="478"/>
          <ac:graphicFrameMkLst>
            <pc:docMk/>
            <pc:sldMk cId="1017737842" sldId="2134806628"/>
            <ac:graphicFrameMk id="7" creationId="{BFE337D5-4569-3B56-24AA-C8BBA38FEDED}"/>
          </ac:graphicFrameMkLst>
        </pc:graphicFrameChg>
        <pc:picChg chg="add mod ord">
          <ac:chgData name="Mohamed Ibissi" userId="90b6f8706c8cb808" providerId="LiveId" clId="{0A7FBB52-A209-4350-A6C8-DCE7C2CB10A7}" dt="2024-11-11T01:05:17.137" v="2441" actId="167"/>
          <ac:picMkLst>
            <pc:docMk/>
            <pc:sldMk cId="1017737842" sldId="2134806628"/>
            <ac:picMk id="4" creationId="{F8060223-B415-70DA-8855-CA7D433E3F43}"/>
          </ac:picMkLst>
        </pc:picChg>
      </pc:sldChg>
      <pc:sldChg chg="addSp delSp modSp add del mod replId">
        <pc:chgData name="Mohamed Ibissi" userId="90b6f8706c8cb808" providerId="LiveId" clId="{0A7FBB52-A209-4350-A6C8-DCE7C2CB10A7}" dt="2024-11-12T15:08:57.840" v="2718" actId="47"/>
        <pc:sldMkLst>
          <pc:docMk/>
          <pc:sldMk cId="2985128017" sldId="2134806629"/>
        </pc:sldMkLst>
        <pc:graphicFrameChg chg="del">
          <ac:chgData name="Mohamed Ibissi" userId="90b6f8706c8cb808" providerId="LiveId" clId="{0A7FBB52-A209-4350-A6C8-DCE7C2CB10A7}" dt="2024-11-11T01:05:53.929" v="2442" actId="478"/>
          <ac:graphicFrameMkLst>
            <pc:docMk/>
            <pc:sldMk cId="2985128017" sldId="2134806629"/>
            <ac:graphicFrameMk id="4" creationId="{7CE51445-879F-25CB-EEB9-51B313469C0C}"/>
          </ac:graphicFrameMkLst>
        </pc:graphicFrameChg>
        <pc:picChg chg="add mod ord">
          <ac:chgData name="Mohamed Ibissi" userId="90b6f8706c8cb808" providerId="LiveId" clId="{0A7FBB52-A209-4350-A6C8-DCE7C2CB10A7}" dt="2024-11-11T01:05:59.840" v="2444" actId="167"/>
          <ac:picMkLst>
            <pc:docMk/>
            <pc:sldMk cId="2985128017" sldId="2134806629"/>
            <ac:picMk id="5" creationId="{C5ED8B69-91A7-E62F-4A61-EE80DC89BA95}"/>
          </ac:picMkLst>
        </pc:picChg>
      </pc:sldChg>
      <pc:sldChg chg="addSp delSp modSp add del mod replId">
        <pc:chgData name="Mohamed Ibissi" userId="90b6f8706c8cb808" providerId="LiveId" clId="{0A7FBB52-A209-4350-A6C8-DCE7C2CB10A7}" dt="2024-11-12T15:08:58.747" v="2719" actId="47"/>
        <pc:sldMkLst>
          <pc:docMk/>
          <pc:sldMk cId="44001831" sldId="2134806630"/>
        </pc:sldMkLst>
        <pc:graphicFrameChg chg="del modGraphic">
          <ac:chgData name="Mohamed Ibissi" userId="90b6f8706c8cb808" providerId="LiveId" clId="{0A7FBB52-A209-4350-A6C8-DCE7C2CB10A7}" dt="2024-11-11T01:06:08.079" v="2446" actId="478"/>
          <ac:graphicFrameMkLst>
            <pc:docMk/>
            <pc:sldMk cId="44001831" sldId="2134806630"/>
            <ac:graphicFrameMk id="4" creationId="{CAB060A9-C47D-DE3D-0EFC-661C32FF9F13}"/>
          </ac:graphicFrameMkLst>
        </pc:graphicFrameChg>
        <pc:picChg chg="add mod ord">
          <ac:chgData name="Mohamed Ibissi" userId="90b6f8706c8cb808" providerId="LiveId" clId="{0A7FBB52-A209-4350-A6C8-DCE7C2CB10A7}" dt="2024-11-11T01:06:14.879" v="2448" actId="167"/>
          <ac:picMkLst>
            <pc:docMk/>
            <pc:sldMk cId="44001831" sldId="2134806630"/>
            <ac:picMk id="3" creationId="{5553A9C3-A137-1163-AC14-CD2D64D25191}"/>
          </ac:picMkLst>
        </pc:picChg>
      </pc:sldChg>
      <pc:sldChg chg="addSp delSp modSp add del mod replId">
        <pc:chgData name="Mohamed Ibissi" userId="90b6f8706c8cb808" providerId="LiveId" clId="{0A7FBB52-A209-4350-A6C8-DCE7C2CB10A7}" dt="2024-11-12T15:08:59.608" v="2720" actId="47"/>
        <pc:sldMkLst>
          <pc:docMk/>
          <pc:sldMk cId="3954519729" sldId="2134806631"/>
        </pc:sldMkLst>
        <pc:graphicFrameChg chg="del">
          <ac:chgData name="Mohamed Ibissi" userId="90b6f8706c8cb808" providerId="LiveId" clId="{0A7FBB52-A209-4350-A6C8-DCE7C2CB10A7}" dt="2024-11-11T01:06:24.993" v="2449" actId="478"/>
          <ac:graphicFrameMkLst>
            <pc:docMk/>
            <pc:sldMk cId="3954519729" sldId="2134806631"/>
            <ac:graphicFrameMk id="4" creationId="{5D84EF7E-F5F5-42CE-9C3B-ADA1DB40F6F1}"/>
          </ac:graphicFrameMkLst>
        </pc:graphicFrameChg>
        <pc:picChg chg="add mod ord">
          <ac:chgData name="Mohamed Ibissi" userId="90b6f8706c8cb808" providerId="LiveId" clId="{0A7FBB52-A209-4350-A6C8-DCE7C2CB10A7}" dt="2024-11-11T01:06:29.559" v="2451" actId="167"/>
          <ac:picMkLst>
            <pc:docMk/>
            <pc:sldMk cId="3954519729" sldId="2134806631"/>
            <ac:picMk id="5" creationId="{E8402A62-CC74-E5D9-BB02-FE8130B7AF98}"/>
          </ac:picMkLst>
        </pc:picChg>
      </pc:sldChg>
      <pc:sldChg chg="addSp delSp modSp add mod replId delAnim">
        <pc:chgData name="Mohamed Ibissi" userId="90b6f8706c8cb808" providerId="LiveId" clId="{0A7FBB52-A209-4350-A6C8-DCE7C2CB10A7}" dt="2024-11-11T01:06:40.505" v="2454" actId="167"/>
        <pc:sldMkLst>
          <pc:docMk/>
          <pc:sldMk cId="2050475058" sldId="2134806632"/>
        </pc:sldMkLst>
        <pc:spChg chg="mod">
          <ac:chgData name="Mohamed Ibissi" userId="90b6f8706c8cb808" providerId="LiveId" clId="{0A7FBB52-A209-4350-A6C8-DCE7C2CB10A7}" dt="2024-11-10T14:25:13.660" v="883" actId="20577"/>
          <ac:spMkLst>
            <pc:docMk/>
            <pc:sldMk cId="2050475058" sldId="2134806632"/>
            <ac:spMk id="3" creationId="{64540A1D-9C74-9EDF-2DCE-57B7E75281FA}"/>
          </ac:spMkLst>
        </pc:spChg>
        <pc:spChg chg="add mod">
          <ac:chgData name="Mohamed Ibissi" userId="90b6f8706c8cb808" providerId="LiveId" clId="{0A7FBB52-A209-4350-A6C8-DCE7C2CB10A7}" dt="2024-11-10T14:24:59.163" v="879"/>
          <ac:spMkLst>
            <pc:docMk/>
            <pc:sldMk cId="2050475058" sldId="2134806632"/>
            <ac:spMk id="5" creationId="{02C87244-771E-474E-FA1D-335B75C7FE9F}"/>
          </ac:spMkLst>
        </pc:spChg>
        <pc:spChg chg="del">
          <ac:chgData name="Mohamed Ibissi" userId="90b6f8706c8cb808" providerId="LiveId" clId="{0A7FBB52-A209-4350-A6C8-DCE7C2CB10A7}" dt="2024-11-10T14:24:58.600" v="878" actId="478"/>
          <ac:spMkLst>
            <pc:docMk/>
            <pc:sldMk cId="2050475058" sldId="2134806632"/>
            <ac:spMk id="7" creationId="{DC75B0DB-E811-3863-A321-EF1EEDDE54E6}"/>
          </ac:spMkLst>
        </pc:spChg>
        <pc:spChg chg="add mod">
          <ac:chgData name="Mohamed Ibissi" userId="90b6f8706c8cb808" providerId="LiveId" clId="{0A7FBB52-A209-4350-A6C8-DCE7C2CB10A7}" dt="2024-11-10T14:24:59.163" v="879"/>
          <ac:spMkLst>
            <pc:docMk/>
            <pc:sldMk cId="2050475058" sldId="2134806632"/>
            <ac:spMk id="8" creationId="{0A130ECB-E073-8219-F4D8-9EC13CAF10CA}"/>
          </ac:spMkLst>
        </pc:spChg>
        <pc:spChg chg="add del mod">
          <ac:chgData name="Mohamed Ibissi" userId="90b6f8706c8cb808" providerId="LiveId" clId="{0A7FBB52-A209-4350-A6C8-DCE7C2CB10A7}" dt="2024-11-10T14:25:04.544" v="880" actId="478"/>
          <ac:spMkLst>
            <pc:docMk/>
            <pc:sldMk cId="2050475058" sldId="2134806632"/>
            <ac:spMk id="10" creationId="{D29807ED-7C55-9BD0-E420-919A0016DE44}"/>
          </ac:spMkLst>
        </pc:spChg>
        <pc:spChg chg="add mod">
          <ac:chgData name="Mohamed Ibissi" userId="90b6f8706c8cb808" providerId="LiveId" clId="{0A7FBB52-A209-4350-A6C8-DCE7C2CB10A7}" dt="2024-11-10T14:24:59.163" v="879"/>
          <ac:spMkLst>
            <pc:docMk/>
            <pc:sldMk cId="2050475058" sldId="2134806632"/>
            <ac:spMk id="11" creationId="{C6678239-CCD8-1ED9-A86D-CC2D12EFF94A}"/>
          </ac:spMkLst>
        </pc:spChg>
        <pc:spChg chg="del">
          <ac:chgData name="Mohamed Ibissi" userId="90b6f8706c8cb808" providerId="LiveId" clId="{0A7FBB52-A209-4350-A6C8-DCE7C2CB10A7}" dt="2024-11-10T14:24:58.600" v="878" actId="478"/>
          <ac:spMkLst>
            <pc:docMk/>
            <pc:sldMk cId="2050475058" sldId="2134806632"/>
            <ac:spMk id="12" creationId="{CE875E25-51A4-A5BA-F5E9-C93CDB62AE54}"/>
          </ac:spMkLst>
        </pc:spChg>
        <pc:spChg chg="del">
          <ac:chgData name="Mohamed Ibissi" userId="90b6f8706c8cb808" providerId="LiveId" clId="{0A7FBB52-A209-4350-A6C8-DCE7C2CB10A7}" dt="2024-11-10T14:24:58.600" v="878" actId="478"/>
          <ac:spMkLst>
            <pc:docMk/>
            <pc:sldMk cId="2050475058" sldId="2134806632"/>
            <ac:spMk id="13" creationId="{9A44AAEC-023F-7CA4-D136-F0EA34AC8996}"/>
          </ac:spMkLst>
        </pc:spChg>
        <pc:spChg chg="add mod">
          <ac:chgData name="Mohamed Ibissi" userId="90b6f8706c8cb808" providerId="LiveId" clId="{0A7FBB52-A209-4350-A6C8-DCE7C2CB10A7}" dt="2024-11-10T14:25:30.850" v="890" actId="20577"/>
          <ac:spMkLst>
            <pc:docMk/>
            <pc:sldMk cId="2050475058" sldId="2134806632"/>
            <ac:spMk id="14" creationId="{773A1FA0-8022-0D23-AE9A-C80DA6973CDE}"/>
          </ac:spMkLst>
        </pc:spChg>
        <pc:graphicFrameChg chg="del">
          <ac:chgData name="Mohamed Ibissi" userId="90b6f8706c8cb808" providerId="LiveId" clId="{0A7FBB52-A209-4350-A6C8-DCE7C2CB10A7}" dt="2024-11-11T01:06:36.422" v="2452" actId="478"/>
          <ac:graphicFrameMkLst>
            <pc:docMk/>
            <pc:sldMk cId="2050475058" sldId="2134806632"/>
            <ac:graphicFrameMk id="4" creationId="{BFC8F017-3948-0C45-FE99-F3E17580394F}"/>
          </ac:graphicFrameMkLst>
        </pc:graphicFrameChg>
        <pc:picChg chg="add mod">
          <ac:chgData name="Mohamed Ibissi" userId="90b6f8706c8cb808" providerId="LiveId" clId="{0A7FBB52-A209-4350-A6C8-DCE7C2CB10A7}" dt="2024-11-10T14:24:59.163" v="879"/>
          <ac:picMkLst>
            <pc:docMk/>
            <pc:sldMk cId="2050475058" sldId="2134806632"/>
            <ac:picMk id="2" creationId="{E7E1D65F-4CE9-B3B3-3EA1-E37B5FAB5E49}"/>
          </ac:picMkLst>
        </pc:picChg>
        <pc:picChg chg="del">
          <ac:chgData name="Mohamed Ibissi" userId="90b6f8706c8cb808" providerId="LiveId" clId="{0A7FBB52-A209-4350-A6C8-DCE7C2CB10A7}" dt="2024-11-10T14:24:58.600" v="878" actId="478"/>
          <ac:picMkLst>
            <pc:docMk/>
            <pc:sldMk cId="2050475058" sldId="2134806632"/>
            <ac:picMk id="6" creationId="{8F43E701-0319-13BB-BE4C-2808EDD48843}"/>
          </ac:picMkLst>
        </pc:picChg>
        <pc:picChg chg="add mod ord">
          <ac:chgData name="Mohamed Ibissi" userId="90b6f8706c8cb808" providerId="LiveId" clId="{0A7FBB52-A209-4350-A6C8-DCE7C2CB10A7}" dt="2024-11-11T01:06:40.505" v="2454" actId="167"/>
          <ac:picMkLst>
            <pc:docMk/>
            <pc:sldMk cId="2050475058" sldId="2134806632"/>
            <ac:picMk id="6" creationId="{F2995F22-6B51-E5FE-0392-4C2624FE3D34}"/>
          </ac:picMkLst>
        </pc:picChg>
      </pc:sldChg>
      <pc:sldChg chg="addSp delSp modSp add mod ord">
        <pc:chgData name="Mohamed Ibissi" userId="90b6f8706c8cb808" providerId="LiveId" clId="{0A7FBB52-A209-4350-A6C8-DCE7C2CB10A7}" dt="2024-11-11T01:14:01.372" v="2546" actId="167"/>
        <pc:sldMkLst>
          <pc:docMk/>
          <pc:sldMk cId="2026058488" sldId="2134806633"/>
        </pc:sldMkLst>
        <pc:spChg chg="mod">
          <ac:chgData name="Mohamed Ibissi" userId="90b6f8706c8cb808" providerId="LiveId" clId="{0A7FBB52-A209-4350-A6C8-DCE7C2CB10A7}" dt="2024-11-10T16:21:00.841" v="1412" actId="20577"/>
          <ac:spMkLst>
            <pc:docMk/>
            <pc:sldMk cId="2026058488" sldId="2134806633"/>
            <ac:spMk id="8" creationId="{F55F50E3-ECFE-08BC-9278-CB5EFAAD8ECF}"/>
          </ac:spMkLst>
        </pc:spChg>
        <pc:spChg chg="mod">
          <ac:chgData name="Mohamed Ibissi" userId="90b6f8706c8cb808" providerId="LiveId" clId="{0A7FBB52-A209-4350-A6C8-DCE7C2CB10A7}" dt="2024-11-10T16:22:30.205" v="1416" actId="1076"/>
          <ac:spMkLst>
            <pc:docMk/>
            <pc:sldMk cId="2026058488" sldId="2134806633"/>
            <ac:spMk id="9" creationId="{84B33AB1-A750-E897-C680-B5667D5B76D2}"/>
          </ac:spMkLst>
        </pc:spChg>
        <pc:spChg chg="mod">
          <ac:chgData name="Mohamed Ibissi" userId="90b6f8706c8cb808" providerId="LiveId" clId="{0A7FBB52-A209-4350-A6C8-DCE7C2CB10A7}" dt="2024-11-10T16:22:35.458" v="1417" actId="1076"/>
          <ac:spMkLst>
            <pc:docMk/>
            <pc:sldMk cId="2026058488" sldId="2134806633"/>
            <ac:spMk id="10" creationId="{9FDC0214-FE86-0AE8-11DE-F6B1DC3B6C31}"/>
          </ac:spMkLst>
        </pc:spChg>
        <pc:graphicFrameChg chg="del">
          <ac:chgData name="Mohamed Ibissi" userId="90b6f8706c8cb808" providerId="LiveId" clId="{0A7FBB52-A209-4350-A6C8-DCE7C2CB10A7}" dt="2024-11-11T01:13:56.356" v="2544" actId="478"/>
          <ac:graphicFrameMkLst>
            <pc:docMk/>
            <pc:sldMk cId="2026058488" sldId="2134806633"/>
            <ac:graphicFrameMk id="4" creationId="{4A7FA9FC-9907-B62D-C169-5E493BB64124}"/>
          </ac:graphicFrameMkLst>
        </pc:graphicFrameChg>
        <pc:picChg chg="add mod ord">
          <ac:chgData name="Mohamed Ibissi" userId="90b6f8706c8cb808" providerId="LiveId" clId="{0A7FBB52-A209-4350-A6C8-DCE7C2CB10A7}" dt="2024-11-11T01:14:01.372" v="2546" actId="167"/>
          <ac:picMkLst>
            <pc:docMk/>
            <pc:sldMk cId="2026058488" sldId="2134806633"/>
            <ac:picMk id="2" creationId="{AE287EF2-52B4-E9E1-BCDB-9DC523722FB5}"/>
          </ac:picMkLst>
        </pc:picChg>
        <pc:picChg chg="mod">
          <ac:chgData name="Mohamed Ibissi" userId="90b6f8706c8cb808" providerId="LiveId" clId="{0A7FBB52-A209-4350-A6C8-DCE7C2CB10A7}" dt="2024-11-10T16:22:05.287" v="1413" actId="14826"/>
          <ac:picMkLst>
            <pc:docMk/>
            <pc:sldMk cId="2026058488" sldId="2134806633"/>
            <ac:picMk id="5" creationId="{273B9B7D-4128-D15E-FF1E-6B74C17ED414}"/>
          </ac:picMkLst>
        </pc:picChg>
      </pc:sldChg>
      <pc:sldChg chg="addSp delSp modSp add mod modAnim">
        <pc:chgData name="Mohamed Ibissi" userId="90b6f8706c8cb808" providerId="LiveId" clId="{0A7FBB52-A209-4350-A6C8-DCE7C2CB10A7}" dt="2024-11-11T01:14:16.426" v="2549" actId="167"/>
        <pc:sldMkLst>
          <pc:docMk/>
          <pc:sldMk cId="811276661" sldId="2134806634"/>
        </pc:sldMkLst>
        <pc:spChg chg="add mod">
          <ac:chgData name="Mohamed Ibissi" userId="90b6f8706c8cb808" providerId="LiveId" clId="{0A7FBB52-A209-4350-A6C8-DCE7C2CB10A7}" dt="2024-11-10T23:10:05.118" v="1505" actId="207"/>
          <ac:spMkLst>
            <pc:docMk/>
            <pc:sldMk cId="811276661" sldId="2134806634"/>
            <ac:spMk id="2" creationId="{21EEA099-FEBA-D831-FB93-80772E88C11C}"/>
          </ac:spMkLst>
        </pc:spChg>
        <pc:spChg chg="add mod">
          <ac:chgData name="Mohamed Ibissi" userId="90b6f8706c8cb808" providerId="LiveId" clId="{0A7FBB52-A209-4350-A6C8-DCE7C2CB10A7}" dt="2024-11-10T16:24:06.728" v="1436" actId="1038"/>
          <ac:spMkLst>
            <pc:docMk/>
            <pc:sldMk cId="811276661" sldId="2134806634"/>
            <ac:spMk id="3" creationId="{22D845B5-C873-B6EE-A6CD-66B74DA99394}"/>
          </ac:spMkLst>
        </pc:spChg>
        <pc:spChg chg="add mod">
          <ac:chgData name="Mohamed Ibissi" userId="90b6f8706c8cb808" providerId="LiveId" clId="{0A7FBB52-A209-4350-A6C8-DCE7C2CB10A7}" dt="2024-11-10T16:24:14.730" v="1438" actId="20577"/>
          <ac:spMkLst>
            <pc:docMk/>
            <pc:sldMk cId="811276661" sldId="2134806634"/>
            <ac:spMk id="6" creationId="{EB851511-60CA-98DA-7FD7-82EF109F4EF2}"/>
          </ac:spMkLst>
        </pc:spChg>
        <pc:spChg chg="del">
          <ac:chgData name="Mohamed Ibissi" userId="90b6f8706c8cb808" providerId="LiveId" clId="{0A7FBB52-A209-4350-A6C8-DCE7C2CB10A7}" dt="2024-11-10T16:23:14.672" v="1420" actId="478"/>
          <ac:spMkLst>
            <pc:docMk/>
            <pc:sldMk cId="811276661" sldId="2134806634"/>
            <ac:spMk id="8" creationId="{6970193A-EFE9-FAD9-45EC-54C74A1B6D1C}"/>
          </ac:spMkLst>
        </pc:spChg>
        <pc:spChg chg="del">
          <ac:chgData name="Mohamed Ibissi" userId="90b6f8706c8cb808" providerId="LiveId" clId="{0A7FBB52-A209-4350-A6C8-DCE7C2CB10A7}" dt="2024-11-10T16:23:11.953" v="1419" actId="478"/>
          <ac:spMkLst>
            <pc:docMk/>
            <pc:sldMk cId="811276661" sldId="2134806634"/>
            <ac:spMk id="10" creationId="{D99CFCD3-EFD2-6B6F-0271-EA003D56B2A5}"/>
          </ac:spMkLst>
        </pc:spChg>
        <pc:graphicFrameChg chg="del">
          <ac:chgData name="Mohamed Ibissi" userId="90b6f8706c8cb808" providerId="LiveId" clId="{0A7FBB52-A209-4350-A6C8-DCE7C2CB10A7}" dt="2024-11-11T01:14:12.192" v="2547" actId="478"/>
          <ac:graphicFrameMkLst>
            <pc:docMk/>
            <pc:sldMk cId="811276661" sldId="2134806634"/>
            <ac:graphicFrameMk id="4" creationId="{47730A74-5F95-D93D-E27A-934CCD070DEC}"/>
          </ac:graphicFrameMkLst>
        </pc:graphicFrameChg>
        <pc:picChg chg="add mod ord">
          <ac:chgData name="Mohamed Ibissi" userId="90b6f8706c8cb808" providerId="LiveId" clId="{0A7FBB52-A209-4350-A6C8-DCE7C2CB10A7}" dt="2024-11-11T01:14:16.426" v="2549" actId="167"/>
          <ac:picMkLst>
            <pc:docMk/>
            <pc:sldMk cId="811276661" sldId="2134806634"/>
            <ac:picMk id="7" creationId="{8EA93766-F83E-922B-6FFA-C89B0F419476}"/>
          </ac:picMkLst>
        </pc:picChg>
      </pc:sldChg>
      <pc:sldChg chg="addSp delSp modSp add mod">
        <pc:chgData name="Mohamed Ibissi" userId="90b6f8706c8cb808" providerId="LiveId" clId="{0A7FBB52-A209-4350-A6C8-DCE7C2CB10A7}" dt="2024-11-12T15:11:30.053" v="2734"/>
        <pc:sldMkLst>
          <pc:docMk/>
          <pc:sldMk cId="1333349807" sldId="2134806635"/>
        </pc:sldMkLst>
        <pc:spChg chg="del">
          <ac:chgData name="Mohamed Ibissi" userId="90b6f8706c8cb808" providerId="LiveId" clId="{0A7FBB52-A209-4350-A6C8-DCE7C2CB10A7}" dt="2024-11-10T16:25:21.672" v="1440" actId="478"/>
          <ac:spMkLst>
            <pc:docMk/>
            <pc:sldMk cId="1333349807" sldId="2134806635"/>
            <ac:spMk id="2" creationId="{BB3F5A86-5EDA-0E5B-03FC-1F9BFCCFB4F9}"/>
          </ac:spMkLst>
        </pc:spChg>
        <pc:spChg chg="add mod">
          <ac:chgData name="Mohamed Ibissi" userId="90b6f8706c8cb808" providerId="LiveId" clId="{0A7FBB52-A209-4350-A6C8-DCE7C2CB10A7}" dt="2024-11-10T23:24:47.514" v="1605" actId="1076"/>
          <ac:spMkLst>
            <pc:docMk/>
            <pc:sldMk cId="1333349807" sldId="2134806635"/>
            <ac:spMk id="2" creationId="{DB7422AA-C2BE-60E0-3475-C5F15EB92942}"/>
          </ac:spMkLst>
        </pc:spChg>
        <pc:spChg chg="add mod">
          <ac:chgData name="Mohamed Ibissi" userId="90b6f8706c8cb808" providerId="LiveId" clId="{0A7FBB52-A209-4350-A6C8-DCE7C2CB10A7}" dt="2024-11-12T15:11:30.053" v="2734"/>
          <ac:spMkLst>
            <pc:docMk/>
            <pc:sldMk cId="1333349807" sldId="2134806635"/>
            <ac:spMk id="7" creationId="{22CC724D-15DD-7312-2A56-227DD532E656}"/>
          </ac:spMkLst>
        </pc:spChg>
        <pc:spChg chg="add mod">
          <ac:chgData name="Mohamed Ibissi" userId="90b6f8706c8cb808" providerId="LiveId" clId="{0A7FBB52-A209-4350-A6C8-DCE7C2CB10A7}" dt="2024-11-10T16:25:58.690" v="1470" actId="20577"/>
          <ac:spMkLst>
            <pc:docMk/>
            <pc:sldMk cId="1333349807" sldId="2134806635"/>
            <ac:spMk id="8" creationId="{10A4FE07-DEEA-2D99-5CA7-74B303CCF8F5}"/>
          </ac:spMkLst>
        </pc:spChg>
        <pc:spChg chg="mod">
          <ac:chgData name="Mohamed Ibissi" userId="90b6f8706c8cb808" providerId="LiveId" clId="{0A7FBB52-A209-4350-A6C8-DCE7C2CB10A7}" dt="2024-11-10T16:25:32.912" v="1447" actId="1037"/>
          <ac:spMkLst>
            <pc:docMk/>
            <pc:sldMk cId="1333349807" sldId="2134806635"/>
            <ac:spMk id="9" creationId="{254EAB26-23E5-C5DA-CC5C-010235D73E4B}"/>
          </ac:spMkLst>
        </pc:spChg>
        <pc:graphicFrameChg chg="del">
          <ac:chgData name="Mohamed Ibissi" userId="90b6f8706c8cb808" providerId="LiveId" clId="{0A7FBB52-A209-4350-A6C8-DCE7C2CB10A7}" dt="2024-11-11T01:14:53.823" v="2556" actId="478"/>
          <ac:graphicFrameMkLst>
            <pc:docMk/>
            <pc:sldMk cId="1333349807" sldId="2134806635"/>
            <ac:graphicFrameMk id="4" creationId="{48DE8DAC-C1B4-F066-A103-6874FC5604B7}"/>
          </ac:graphicFrameMkLst>
        </pc:graphicFrameChg>
        <pc:picChg chg="add mod">
          <ac:chgData name="Mohamed Ibissi" userId="90b6f8706c8cb808" providerId="LiveId" clId="{0A7FBB52-A209-4350-A6C8-DCE7C2CB10A7}" dt="2024-11-10T23:25:45.337" v="1611"/>
          <ac:picMkLst>
            <pc:docMk/>
            <pc:sldMk cId="1333349807" sldId="2134806635"/>
            <ac:picMk id="10" creationId="{AC64B3A2-29B1-ADE0-75BB-AA973CD35A93}"/>
          </ac:picMkLst>
        </pc:picChg>
        <pc:picChg chg="add mod ord">
          <ac:chgData name="Mohamed Ibissi" userId="90b6f8706c8cb808" providerId="LiveId" clId="{0A7FBB52-A209-4350-A6C8-DCE7C2CB10A7}" dt="2024-11-11T01:14:57.826" v="2558" actId="167"/>
          <ac:picMkLst>
            <pc:docMk/>
            <pc:sldMk cId="1333349807" sldId="2134806635"/>
            <ac:picMk id="11" creationId="{9E3532FA-10BA-8653-7F98-04EE60C41486}"/>
          </ac:picMkLst>
        </pc:picChg>
        <pc:picChg chg="del">
          <ac:chgData name="Mohamed Ibissi" userId="90b6f8706c8cb808" providerId="LiveId" clId="{0A7FBB52-A209-4350-A6C8-DCE7C2CB10A7}" dt="2024-11-10T23:25:23.289" v="1610" actId="478"/>
          <ac:picMkLst>
            <pc:docMk/>
            <pc:sldMk cId="1333349807" sldId="2134806635"/>
            <ac:picMk id="12" creationId="{3BF40ABC-FB96-3315-9BDE-1669A4D799AA}"/>
          </ac:picMkLst>
        </pc:picChg>
      </pc:sldChg>
      <pc:sldChg chg="addSp delSp modSp add mod ord">
        <pc:chgData name="Mohamed Ibissi" userId="90b6f8706c8cb808" providerId="LiveId" clId="{0A7FBB52-A209-4350-A6C8-DCE7C2CB10A7}" dt="2024-11-11T01:15:08.486" v="2561" actId="167"/>
        <pc:sldMkLst>
          <pc:docMk/>
          <pc:sldMk cId="3312766305" sldId="2134806636"/>
        </pc:sldMkLst>
        <pc:graphicFrameChg chg="del">
          <ac:chgData name="Mohamed Ibissi" userId="90b6f8706c8cb808" providerId="LiveId" clId="{0A7FBB52-A209-4350-A6C8-DCE7C2CB10A7}" dt="2024-11-11T01:15:04.375" v="2559" actId="478"/>
          <ac:graphicFrameMkLst>
            <pc:docMk/>
            <pc:sldMk cId="3312766305" sldId="2134806636"/>
            <ac:graphicFrameMk id="4" creationId="{9C1BD1F6-C8A6-5243-714D-89E905DD9605}"/>
          </ac:graphicFrameMkLst>
        </pc:graphicFrameChg>
        <pc:picChg chg="add mod ord">
          <ac:chgData name="Mohamed Ibissi" userId="90b6f8706c8cb808" providerId="LiveId" clId="{0A7FBB52-A209-4350-A6C8-DCE7C2CB10A7}" dt="2024-11-11T01:15:08.486" v="2561" actId="167"/>
          <ac:picMkLst>
            <pc:docMk/>
            <pc:sldMk cId="3312766305" sldId="2134806636"/>
            <ac:picMk id="5" creationId="{08D41C40-2F1A-F13F-22DD-5474B3865BD6}"/>
          </ac:picMkLst>
        </pc:picChg>
      </pc:sldChg>
      <pc:sldChg chg="addSp delSp modSp add mod ord replId">
        <pc:chgData name="Mohamed Ibissi" userId="90b6f8706c8cb808" providerId="LiveId" clId="{0A7FBB52-A209-4350-A6C8-DCE7C2CB10A7}" dt="2024-11-11T01:15:18.646" v="2564" actId="167"/>
        <pc:sldMkLst>
          <pc:docMk/>
          <pc:sldMk cId="2827829304" sldId="2134806637"/>
        </pc:sldMkLst>
        <pc:graphicFrameChg chg="del">
          <ac:chgData name="Mohamed Ibissi" userId="90b6f8706c8cb808" providerId="LiveId" clId="{0A7FBB52-A209-4350-A6C8-DCE7C2CB10A7}" dt="2024-11-11T01:15:14.802" v="2562" actId="478"/>
          <ac:graphicFrameMkLst>
            <pc:docMk/>
            <pc:sldMk cId="2827829304" sldId="2134806637"/>
            <ac:graphicFrameMk id="4" creationId="{FBF7F235-D8DD-32A5-B63D-858990A18F4A}"/>
          </ac:graphicFrameMkLst>
        </pc:graphicFrameChg>
        <pc:picChg chg="add mod ord">
          <ac:chgData name="Mohamed Ibissi" userId="90b6f8706c8cb808" providerId="LiveId" clId="{0A7FBB52-A209-4350-A6C8-DCE7C2CB10A7}" dt="2024-11-11T01:15:18.646" v="2564" actId="167"/>
          <ac:picMkLst>
            <pc:docMk/>
            <pc:sldMk cId="2827829304" sldId="2134806637"/>
            <ac:picMk id="3" creationId="{57702135-EC06-DB29-4E3C-4465C584DF87}"/>
          </ac:picMkLst>
        </pc:picChg>
      </pc:sldChg>
      <pc:sldChg chg="addSp delSp modSp add mod ord replId">
        <pc:chgData name="Mohamed Ibissi" userId="90b6f8706c8cb808" providerId="LiveId" clId="{0A7FBB52-A209-4350-A6C8-DCE7C2CB10A7}" dt="2024-11-11T01:15:28.978" v="2567" actId="167"/>
        <pc:sldMkLst>
          <pc:docMk/>
          <pc:sldMk cId="1081213944" sldId="2134806638"/>
        </pc:sldMkLst>
        <pc:graphicFrameChg chg="del">
          <ac:chgData name="Mohamed Ibissi" userId="90b6f8706c8cb808" providerId="LiveId" clId="{0A7FBB52-A209-4350-A6C8-DCE7C2CB10A7}" dt="2024-11-11T01:15:25.212" v="2565" actId="478"/>
          <ac:graphicFrameMkLst>
            <pc:docMk/>
            <pc:sldMk cId="1081213944" sldId="2134806638"/>
            <ac:graphicFrameMk id="4" creationId="{5586177C-B331-FFF8-6518-991419712AF3}"/>
          </ac:graphicFrameMkLst>
        </pc:graphicFrameChg>
        <pc:picChg chg="add mod ord">
          <ac:chgData name="Mohamed Ibissi" userId="90b6f8706c8cb808" providerId="LiveId" clId="{0A7FBB52-A209-4350-A6C8-DCE7C2CB10A7}" dt="2024-11-11T01:15:28.978" v="2567" actId="167"/>
          <ac:picMkLst>
            <pc:docMk/>
            <pc:sldMk cId="1081213944" sldId="2134806638"/>
            <ac:picMk id="5" creationId="{BECE83FC-FC37-D99F-737C-CB82E83D1B88}"/>
          </ac:picMkLst>
        </pc:picChg>
      </pc:sldChg>
      <pc:sldChg chg="addSp delSp modSp add mod ord modAnim">
        <pc:chgData name="Mohamed Ibissi" userId="90b6f8706c8cb808" providerId="LiveId" clId="{0A7FBB52-A209-4350-A6C8-DCE7C2CB10A7}" dt="2024-11-11T01:15:39.264" v="2570" actId="167"/>
        <pc:sldMkLst>
          <pc:docMk/>
          <pc:sldMk cId="18477359" sldId="2134806639"/>
        </pc:sldMkLst>
        <pc:spChg chg="add mod">
          <ac:chgData name="Mohamed Ibissi" userId="90b6f8706c8cb808" providerId="LiveId" clId="{0A7FBB52-A209-4350-A6C8-DCE7C2CB10A7}" dt="2024-11-10T16:28:55.729" v="1485" actId="20577"/>
          <ac:spMkLst>
            <pc:docMk/>
            <pc:sldMk cId="18477359" sldId="2134806639"/>
            <ac:spMk id="2" creationId="{70CF1CA1-BCB1-D349-99A5-1BBE5AC70B7C}"/>
          </ac:spMkLst>
        </pc:spChg>
        <pc:spChg chg="del">
          <ac:chgData name="Mohamed Ibissi" userId="90b6f8706c8cb808" providerId="LiveId" clId="{0A7FBB52-A209-4350-A6C8-DCE7C2CB10A7}" dt="2024-11-10T16:28:18.484" v="1479" actId="478"/>
          <ac:spMkLst>
            <pc:docMk/>
            <pc:sldMk cId="18477359" sldId="2134806639"/>
            <ac:spMk id="7" creationId="{DF036BEA-DF9D-FBFB-6E62-DC595984A501}"/>
          </ac:spMkLst>
        </pc:spChg>
        <pc:spChg chg="add mod">
          <ac:chgData name="Mohamed Ibissi" userId="90b6f8706c8cb808" providerId="LiveId" clId="{0A7FBB52-A209-4350-A6C8-DCE7C2CB10A7}" dt="2024-11-10T16:29:15.707" v="1495" actId="1038"/>
          <ac:spMkLst>
            <pc:docMk/>
            <pc:sldMk cId="18477359" sldId="2134806639"/>
            <ac:spMk id="10" creationId="{645F50E3-1AAB-7029-CF90-511BCC840234}"/>
          </ac:spMkLst>
        </pc:spChg>
        <pc:graphicFrameChg chg="del">
          <ac:chgData name="Mohamed Ibissi" userId="90b6f8706c8cb808" providerId="LiveId" clId="{0A7FBB52-A209-4350-A6C8-DCE7C2CB10A7}" dt="2024-11-11T01:15:36.027" v="2568" actId="478"/>
          <ac:graphicFrameMkLst>
            <pc:docMk/>
            <pc:sldMk cId="18477359" sldId="2134806639"/>
            <ac:graphicFrameMk id="4" creationId="{90BD23A6-2210-BEF5-965D-B98377A83610}"/>
          </ac:graphicFrameMkLst>
        </pc:graphicFrameChg>
        <pc:picChg chg="add mod">
          <ac:chgData name="Mohamed Ibissi" userId="90b6f8706c8cb808" providerId="LiveId" clId="{0A7FBB52-A209-4350-A6C8-DCE7C2CB10A7}" dt="2024-11-10T23:26:24.859" v="1612"/>
          <ac:picMkLst>
            <pc:docMk/>
            <pc:sldMk cId="18477359" sldId="2134806639"/>
            <ac:picMk id="7" creationId="{9A243DA5-BCCD-B315-B52C-203FDE3C82D3}"/>
          </ac:picMkLst>
        </pc:picChg>
        <pc:picChg chg="add mod ord">
          <ac:chgData name="Mohamed Ibissi" userId="90b6f8706c8cb808" providerId="LiveId" clId="{0A7FBB52-A209-4350-A6C8-DCE7C2CB10A7}" dt="2024-11-11T01:15:39.264" v="2570" actId="167"/>
          <ac:picMkLst>
            <pc:docMk/>
            <pc:sldMk cId="18477359" sldId="2134806639"/>
            <ac:picMk id="11" creationId="{68FEC727-5668-B9E3-C835-7E50FC1DB4C2}"/>
          </ac:picMkLst>
        </pc:picChg>
        <pc:picChg chg="del">
          <ac:chgData name="Mohamed Ibissi" userId="90b6f8706c8cb808" providerId="LiveId" clId="{0A7FBB52-A209-4350-A6C8-DCE7C2CB10A7}" dt="2024-11-10T23:25:13.596" v="1609" actId="478"/>
          <ac:picMkLst>
            <pc:docMk/>
            <pc:sldMk cId="18477359" sldId="2134806639"/>
            <ac:picMk id="12" creationId="{4C730C28-B5B9-1602-C4BE-E55AC8B5E545}"/>
          </ac:picMkLst>
        </pc:picChg>
      </pc:sldChg>
      <pc:sldChg chg="addSp delSp modSp add mod modAnim">
        <pc:chgData name="Mohamed Ibissi" userId="90b6f8706c8cb808" providerId="LiveId" clId="{0A7FBB52-A209-4350-A6C8-DCE7C2CB10A7}" dt="2024-11-12T15:11:47.016" v="2736"/>
        <pc:sldMkLst>
          <pc:docMk/>
          <pc:sldMk cId="4161022977" sldId="2134806640"/>
        </pc:sldMkLst>
        <pc:spChg chg="mod">
          <ac:chgData name="Mohamed Ibissi" userId="90b6f8706c8cb808" providerId="LiveId" clId="{0A7FBB52-A209-4350-A6C8-DCE7C2CB10A7}" dt="2024-11-12T15:11:47.016" v="2736"/>
          <ac:spMkLst>
            <pc:docMk/>
            <pc:sldMk cId="4161022977" sldId="2134806640"/>
            <ac:spMk id="2" creationId="{ECEAD43C-4A7E-39AD-FE67-89944B3A7FAA}"/>
          </ac:spMkLst>
        </pc:spChg>
        <pc:spChg chg="add mod">
          <ac:chgData name="Mohamed Ibissi" userId="90b6f8706c8cb808" providerId="LiveId" clId="{0A7FBB52-A209-4350-A6C8-DCE7C2CB10A7}" dt="2024-11-10T23:24:08.757" v="1595" actId="1036"/>
          <ac:spMkLst>
            <pc:docMk/>
            <pc:sldMk cId="4161022977" sldId="2134806640"/>
            <ac:spMk id="7" creationId="{13123A98-B999-913D-51D2-81862A6D0C08}"/>
          </ac:spMkLst>
        </pc:spChg>
        <pc:spChg chg="mod">
          <ac:chgData name="Mohamed Ibissi" userId="90b6f8706c8cb808" providerId="LiveId" clId="{0A7FBB52-A209-4350-A6C8-DCE7C2CB10A7}" dt="2024-11-10T23:23:58.077" v="1586" actId="1037"/>
          <ac:spMkLst>
            <pc:docMk/>
            <pc:sldMk cId="4161022977" sldId="2134806640"/>
            <ac:spMk id="9" creationId="{B7EC4525-FA76-A221-86CF-104DE6E87793}"/>
          </ac:spMkLst>
        </pc:spChg>
        <pc:spChg chg="add mod">
          <ac:chgData name="Mohamed Ibissi" userId="90b6f8706c8cb808" providerId="LiveId" clId="{0A7FBB52-A209-4350-A6C8-DCE7C2CB10A7}" dt="2024-11-10T23:25:02.413" v="1607" actId="1076"/>
          <ac:spMkLst>
            <pc:docMk/>
            <pc:sldMk cId="4161022977" sldId="2134806640"/>
            <ac:spMk id="11" creationId="{2DE39683-5344-FBA5-FEA5-7EAB847B4137}"/>
          </ac:spMkLst>
        </pc:spChg>
        <pc:graphicFrameChg chg="del">
          <ac:chgData name="Mohamed Ibissi" userId="90b6f8706c8cb808" providerId="LiveId" clId="{0A7FBB52-A209-4350-A6C8-DCE7C2CB10A7}" dt="2024-11-11T01:15:46.551" v="2571" actId="478"/>
          <ac:graphicFrameMkLst>
            <pc:docMk/>
            <pc:sldMk cId="4161022977" sldId="2134806640"/>
            <ac:graphicFrameMk id="4" creationId="{5AE433A9-E56E-89E5-A074-333114F2D495}"/>
          </ac:graphicFrameMkLst>
        </pc:graphicFrameChg>
        <pc:picChg chg="add mod ord">
          <ac:chgData name="Mohamed Ibissi" userId="90b6f8706c8cb808" providerId="LiveId" clId="{0A7FBB52-A209-4350-A6C8-DCE7C2CB10A7}" dt="2024-11-11T01:15:50.146" v="2573" actId="167"/>
          <ac:picMkLst>
            <pc:docMk/>
            <pc:sldMk cId="4161022977" sldId="2134806640"/>
            <ac:picMk id="12" creationId="{F81A51F3-160E-08B3-6D5F-5AB2C313E2D2}"/>
          </ac:picMkLst>
        </pc:picChg>
        <pc:picChg chg="del">
          <ac:chgData name="Mohamed Ibissi" userId="90b6f8706c8cb808" providerId="LiveId" clId="{0A7FBB52-A209-4350-A6C8-DCE7C2CB10A7}" dt="2024-11-10T23:25:09.170" v="1608" actId="478"/>
          <ac:picMkLst>
            <pc:docMk/>
            <pc:sldMk cId="4161022977" sldId="2134806640"/>
            <ac:picMk id="12" creationId="{FB75B54F-C9C8-B677-69E6-005325A4F2BD}"/>
          </ac:picMkLst>
        </pc:picChg>
        <pc:picChg chg="add mod">
          <ac:chgData name="Mohamed Ibissi" userId="90b6f8706c8cb808" providerId="LiveId" clId="{0A7FBB52-A209-4350-A6C8-DCE7C2CB10A7}" dt="2024-11-10T23:27:12.116" v="1616"/>
          <ac:picMkLst>
            <pc:docMk/>
            <pc:sldMk cId="4161022977" sldId="2134806640"/>
            <ac:picMk id="13" creationId="{5222A397-5C92-8450-5F40-CA79393D1303}"/>
          </ac:picMkLst>
        </pc:picChg>
      </pc:sldChg>
      <pc:sldChg chg="addSp delSp modSp add mod ord">
        <pc:chgData name="Mohamed Ibissi" userId="90b6f8706c8cb808" providerId="LiveId" clId="{0A7FBB52-A209-4350-A6C8-DCE7C2CB10A7}" dt="2024-11-11T01:16:08.198" v="2576" actId="167"/>
        <pc:sldMkLst>
          <pc:docMk/>
          <pc:sldMk cId="4052655697" sldId="2134806641"/>
        </pc:sldMkLst>
        <pc:graphicFrameChg chg="del">
          <ac:chgData name="Mohamed Ibissi" userId="90b6f8706c8cb808" providerId="LiveId" clId="{0A7FBB52-A209-4350-A6C8-DCE7C2CB10A7}" dt="2024-11-11T01:16:02.525" v="2574" actId="478"/>
          <ac:graphicFrameMkLst>
            <pc:docMk/>
            <pc:sldMk cId="4052655697" sldId="2134806641"/>
            <ac:graphicFrameMk id="4" creationId="{86B6A54A-7A6B-E7C6-053B-44403FF023BA}"/>
          </ac:graphicFrameMkLst>
        </pc:graphicFrameChg>
        <pc:picChg chg="add mod ord">
          <ac:chgData name="Mohamed Ibissi" userId="90b6f8706c8cb808" providerId="LiveId" clId="{0A7FBB52-A209-4350-A6C8-DCE7C2CB10A7}" dt="2024-11-11T01:16:08.198" v="2576" actId="167"/>
          <ac:picMkLst>
            <pc:docMk/>
            <pc:sldMk cId="4052655697" sldId="2134806641"/>
            <ac:picMk id="5" creationId="{EBB176CF-96D3-74E1-770B-9A651538805B}"/>
          </ac:picMkLst>
        </pc:picChg>
      </pc:sldChg>
      <pc:sldChg chg="addSp delSp modSp add mod ord replId">
        <pc:chgData name="Mohamed Ibissi" userId="90b6f8706c8cb808" providerId="LiveId" clId="{0A7FBB52-A209-4350-A6C8-DCE7C2CB10A7}" dt="2024-11-11T01:16:20.674" v="2579" actId="167"/>
        <pc:sldMkLst>
          <pc:docMk/>
          <pc:sldMk cId="1094062756" sldId="2134806642"/>
        </pc:sldMkLst>
        <pc:graphicFrameChg chg="del">
          <ac:chgData name="Mohamed Ibissi" userId="90b6f8706c8cb808" providerId="LiveId" clId="{0A7FBB52-A209-4350-A6C8-DCE7C2CB10A7}" dt="2024-11-11T01:16:17.390" v="2577" actId="478"/>
          <ac:graphicFrameMkLst>
            <pc:docMk/>
            <pc:sldMk cId="1094062756" sldId="2134806642"/>
            <ac:graphicFrameMk id="4" creationId="{274F87C8-47C9-1EAB-12DD-6630035096BE}"/>
          </ac:graphicFrameMkLst>
        </pc:graphicFrameChg>
        <pc:picChg chg="add mod ord">
          <ac:chgData name="Mohamed Ibissi" userId="90b6f8706c8cb808" providerId="LiveId" clId="{0A7FBB52-A209-4350-A6C8-DCE7C2CB10A7}" dt="2024-11-11T01:16:20.674" v="2579" actId="167"/>
          <ac:picMkLst>
            <pc:docMk/>
            <pc:sldMk cId="1094062756" sldId="2134806642"/>
            <ac:picMk id="3" creationId="{4D878243-E48F-A00B-C3A4-8BB5C7104AE1}"/>
          </ac:picMkLst>
        </pc:picChg>
      </pc:sldChg>
      <pc:sldChg chg="addSp delSp modSp add mod ord replId">
        <pc:chgData name="Mohamed Ibissi" userId="90b6f8706c8cb808" providerId="LiveId" clId="{0A7FBB52-A209-4350-A6C8-DCE7C2CB10A7}" dt="2024-11-11T01:16:33.744" v="2582" actId="167"/>
        <pc:sldMkLst>
          <pc:docMk/>
          <pc:sldMk cId="1502978664" sldId="2134806643"/>
        </pc:sldMkLst>
        <pc:graphicFrameChg chg="del">
          <ac:chgData name="Mohamed Ibissi" userId="90b6f8706c8cb808" providerId="LiveId" clId="{0A7FBB52-A209-4350-A6C8-DCE7C2CB10A7}" dt="2024-11-11T01:16:29.819" v="2580" actId="478"/>
          <ac:graphicFrameMkLst>
            <pc:docMk/>
            <pc:sldMk cId="1502978664" sldId="2134806643"/>
            <ac:graphicFrameMk id="4" creationId="{14D680C2-8CB7-7A53-F84E-BE651B2A682A}"/>
          </ac:graphicFrameMkLst>
        </pc:graphicFrameChg>
        <pc:picChg chg="add mod ord">
          <ac:chgData name="Mohamed Ibissi" userId="90b6f8706c8cb808" providerId="LiveId" clId="{0A7FBB52-A209-4350-A6C8-DCE7C2CB10A7}" dt="2024-11-11T01:16:33.744" v="2582" actId="167"/>
          <ac:picMkLst>
            <pc:docMk/>
            <pc:sldMk cId="1502978664" sldId="2134806643"/>
            <ac:picMk id="5" creationId="{A35F3651-EB33-713A-7AF6-62CB833A76D4}"/>
          </ac:picMkLst>
        </pc:picChg>
      </pc:sldChg>
      <pc:sldChg chg="addSp delSp modSp add mod ord modAnim">
        <pc:chgData name="Mohamed Ibissi" userId="90b6f8706c8cb808" providerId="LiveId" clId="{0A7FBB52-A209-4350-A6C8-DCE7C2CB10A7}" dt="2024-11-11T01:16:42.686" v="2585" actId="167"/>
        <pc:sldMkLst>
          <pc:docMk/>
          <pc:sldMk cId="2109111714" sldId="2134806644"/>
        </pc:sldMkLst>
        <pc:spChg chg="del">
          <ac:chgData name="Mohamed Ibissi" userId="90b6f8706c8cb808" providerId="LiveId" clId="{0A7FBB52-A209-4350-A6C8-DCE7C2CB10A7}" dt="2024-11-10T23:28:02.590" v="1622" actId="478"/>
          <ac:spMkLst>
            <pc:docMk/>
            <pc:sldMk cId="2109111714" sldId="2134806644"/>
            <ac:spMk id="2" creationId="{7D50C633-8065-171D-5755-C40C8E3080B4}"/>
          </ac:spMkLst>
        </pc:spChg>
        <pc:spChg chg="del">
          <ac:chgData name="Mohamed Ibissi" userId="90b6f8706c8cb808" providerId="LiveId" clId="{0A7FBB52-A209-4350-A6C8-DCE7C2CB10A7}" dt="2024-11-10T23:27:55.739" v="1620" actId="478"/>
          <ac:spMkLst>
            <pc:docMk/>
            <pc:sldMk cId="2109111714" sldId="2134806644"/>
            <ac:spMk id="11" creationId="{C6AFC154-6633-0A2D-7C87-E0F051150FA9}"/>
          </ac:spMkLst>
        </pc:spChg>
        <pc:spChg chg="add mod">
          <ac:chgData name="Mohamed Ibissi" userId="90b6f8706c8cb808" providerId="LiveId" clId="{0A7FBB52-A209-4350-A6C8-DCE7C2CB10A7}" dt="2024-11-10T23:29:16.558" v="1638" actId="20577"/>
          <ac:spMkLst>
            <pc:docMk/>
            <pc:sldMk cId="2109111714" sldId="2134806644"/>
            <ac:spMk id="12" creationId="{45AFCD10-D30C-93F2-E1AB-1767FCF89541}"/>
          </ac:spMkLst>
        </pc:spChg>
        <pc:spChg chg="add mod">
          <ac:chgData name="Mohamed Ibissi" userId="90b6f8706c8cb808" providerId="LiveId" clId="{0A7FBB52-A209-4350-A6C8-DCE7C2CB10A7}" dt="2024-11-10T23:28:51.019" v="1634" actId="20577"/>
          <ac:spMkLst>
            <pc:docMk/>
            <pc:sldMk cId="2109111714" sldId="2134806644"/>
            <ac:spMk id="14" creationId="{6E3950B9-2D74-4FF2-44A6-86010F5FE409}"/>
          </ac:spMkLst>
        </pc:spChg>
        <pc:graphicFrameChg chg="del">
          <ac:chgData name="Mohamed Ibissi" userId="90b6f8706c8cb808" providerId="LiveId" clId="{0A7FBB52-A209-4350-A6C8-DCE7C2CB10A7}" dt="2024-11-11T01:16:39.372" v="2583" actId="478"/>
          <ac:graphicFrameMkLst>
            <pc:docMk/>
            <pc:sldMk cId="2109111714" sldId="2134806644"/>
            <ac:graphicFrameMk id="4" creationId="{AF3DBAC0-CD30-EA7E-98E2-0110607F6C18}"/>
          </ac:graphicFrameMkLst>
        </pc:graphicFrameChg>
        <pc:picChg chg="add mod ord">
          <ac:chgData name="Mohamed Ibissi" userId="90b6f8706c8cb808" providerId="LiveId" clId="{0A7FBB52-A209-4350-A6C8-DCE7C2CB10A7}" dt="2024-11-11T01:16:42.686" v="2585" actId="167"/>
          <ac:picMkLst>
            <pc:docMk/>
            <pc:sldMk cId="2109111714" sldId="2134806644"/>
            <ac:picMk id="2" creationId="{5FADDE24-06B3-8993-9383-BCE859CCDEC8}"/>
          </ac:picMkLst>
        </pc:picChg>
        <pc:picChg chg="del">
          <ac:chgData name="Mohamed Ibissi" userId="90b6f8706c8cb808" providerId="LiveId" clId="{0A7FBB52-A209-4350-A6C8-DCE7C2CB10A7}" dt="2024-11-10T23:27:58.446" v="1621" actId="478"/>
          <ac:picMkLst>
            <pc:docMk/>
            <pc:sldMk cId="2109111714" sldId="2134806644"/>
            <ac:picMk id="13" creationId="{B1048A92-EA39-9609-30A4-37AAE64426F5}"/>
          </ac:picMkLst>
        </pc:picChg>
        <pc:picChg chg="add mod">
          <ac:chgData name="Mohamed Ibissi" userId="90b6f8706c8cb808" providerId="LiveId" clId="{0A7FBB52-A209-4350-A6C8-DCE7C2CB10A7}" dt="2024-11-10T23:28:32.098" v="1623"/>
          <ac:picMkLst>
            <pc:docMk/>
            <pc:sldMk cId="2109111714" sldId="2134806644"/>
            <ac:picMk id="15" creationId="{486B2DAA-9710-A82F-CAC8-B5C94C3AC8CA}"/>
          </ac:picMkLst>
        </pc:picChg>
      </pc:sldChg>
      <pc:sldChg chg="addSp delSp modSp add mod modAnim">
        <pc:chgData name="Mohamed Ibissi" userId="90b6f8706c8cb808" providerId="LiveId" clId="{0A7FBB52-A209-4350-A6C8-DCE7C2CB10A7}" dt="2024-11-12T15:12:05.118" v="2738"/>
        <pc:sldMkLst>
          <pc:docMk/>
          <pc:sldMk cId="293421580" sldId="2134806645"/>
        </pc:sldMkLst>
        <pc:spChg chg="mod">
          <ac:chgData name="Mohamed Ibissi" userId="90b6f8706c8cb808" providerId="LiveId" clId="{0A7FBB52-A209-4350-A6C8-DCE7C2CB10A7}" dt="2024-11-12T15:12:05.118" v="2738"/>
          <ac:spMkLst>
            <pc:docMk/>
            <pc:sldMk cId="293421580" sldId="2134806645"/>
            <ac:spMk id="2" creationId="{4A410F98-29E2-6D06-6294-5ACCA02E00BA}"/>
          </ac:spMkLst>
        </pc:spChg>
        <pc:spChg chg="mod">
          <ac:chgData name="Mohamed Ibissi" userId="90b6f8706c8cb808" providerId="LiveId" clId="{0A7FBB52-A209-4350-A6C8-DCE7C2CB10A7}" dt="2024-11-10T23:29:57.401" v="1686" actId="1038"/>
          <ac:spMkLst>
            <pc:docMk/>
            <pc:sldMk cId="293421580" sldId="2134806645"/>
            <ac:spMk id="9" creationId="{D5EF301C-7721-03AD-A168-711ACC562732}"/>
          </ac:spMkLst>
        </pc:spChg>
        <pc:spChg chg="mod">
          <ac:chgData name="Mohamed Ibissi" userId="90b6f8706c8cb808" providerId="LiveId" clId="{0A7FBB52-A209-4350-A6C8-DCE7C2CB10A7}" dt="2024-11-10T23:30:01.294" v="1687" actId="1076"/>
          <ac:spMkLst>
            <pc:docMk/>
            <pc:sldMk cId="293421580" sldId="2134806645"/>
            <ac:spMk id="11" creationId="{FD2CF8A7-C2B0-CE33-0E27-00E80646B301}"/>
          </ac:spMkLst>
        </pc:spChg>
        <pc:spChg chg="add mod">
          <ac:chgData name="Mohamed Ibissi" userId="90b6f8706c8cb808" providerId="LiveId" clId="{0A7FBB52-A209-4350-A6C8-DCE7C2CB10A7}" dt="2024-11-10T23:30:12.300" v="1688"/>
          <ac:spMkLst>
            <pc:docMk/>
            <pc:sldMk cId="293421580" sldId="2134806645"/>
            <ac:spMk id="12" creationId="{E389A0F6-7385-1A32-82F7-1C28418D2274}"/>
          </ac:spMkLst>
        </pc:spChg>
        <pc:spChg chg="add mod">
          <ac:chgData name="Mohamed Ibissi" userId="90b6f8706c8cb808" providerId="LiveId" clId="{0A7FBB52-A209-4350-A6C8-DCE7C2CB10A7}" dt="2024-11-10T23:30:42.704" v="1708" actId="1035"/>
          <ac:spMkLst>
            <pc:docMk/>
            <pc:sldMk cId="293421580" sldId="2134806645"/>
            <ac:spMk id="14" creationId="{5D18CF17-35CD-7F63-050E-EBAE4E05760E}"/>
          </ac:spMkLst>
        </pc:spChg>
        <pc:graphicFrameChg chg="del">
          <ac:chgData name="Mohamed Ibissi" userId="90b6f8706c8cb808" providerId="LiveId" clId="{0A7FBB52-A209-4350-A6C8-DCE7C2CB10A7}" dt="2024-11-11T01:16:53.973" v="2586" actId="478"/>
          <ac:graphicFrameMkLst>
            <pc:docMk/>
            <pc:sldMk cId="293421580" sldId="2134806645"/>
            <ac:graphicFrameMk id="4" creationId="{3EF6084D-29BE-9A41-2D6A-48EDFCD712BF}"/>
          </ac:graphicFrameMkLst>
        </pc:graphicFrameChg>
        <pc:picChg chg="add mod ord">
          <ac:chgData name="Mohamed Ibissi" userId="90b6f8706c8cb808" providerId="LiveId" clId="{0A7FBB52-A209-4350-A6C8-DCE7C2CB10A7}" dt="2024-11-11T01:16:56.944" v="2588" actId="167"/>
          <ac:picMkLst>
            <pc:docMk/>
            <pc:sldMk cId="293421580" sldId="2134806645"/>
            <ac:picMk id="15" creationId="{09BE7EF0-D628-8DC3-D129-9AE01ECF729B}"/>
          </ac:picMkLst>
        </pc:picChg>
      </pc:sldChg>
      <pc:sldChg chg="addSp delSp modSp add mod replId">
        <pc:chgData name="Mohamed Ibissi" userId="90b6f8706c8cb808" providerId="LiveId" clId="{0A7FBB52-A209-4350-A6C8-DCE7C2CB10A7}" dt="2024-11-11T01:17:14.342" v="2592" actId="167"/>
        <pc:sldMkLst>
          <pc:docMk/>
          <pc:sldMk cId="2964042354" sldId="2134806646"/>
        </pc:sldMkLst>
        <pc:graphicFrameChg chg="del modGraphic">
          <ac:chgData name="Mohamed Ibissi" userId="90b6f8706c8cb808" providerId="LiveId" clId="{0A7FBB52-A209-4350-A6C8-DCE7C2CB10A7}" dt="2024-11-11T01:17:10.482" v="2590" actId="478"/>
          <ac:graphicFrameMkLst>
            <pc:docMk/>
            <pc:sldMk cId="2964042354" sldId="2134806646"/>
            <ac:graphicFrameMk id="4" creationId="{C14C2B72-5BB4-D1FF-8B84-BFDA6485F829}"/>
          </ac:graphicFrameMkLst>
        </pc:graphicFrameChg>
        <pc:picChg chg="add mod ord">
          <ac:chgData name="Mohamed Ibissi" userId="90b6f8706c8cb808" providerId="LiveId" clId="{0A7FBB52-A209-4350-A6C8-DCE7C2CB10A7}" dt="2024-11-11T01:17:14.342" v="2592" actId="167"/>
          <ac:picMkLst>
            <pc:docMk/>
            <pc:sldMk cId="2964042354" sldId="2134806646"/>
            <ac:picMk id="5" creationId="{6294261D-DBD2-C794-9898-EA8DCED0B1D3}"/>
          </ac:picMkLst>
        </pc:picChg>
      </pc:sldChg>
      <pc:sldChg chg="addSp delSp modSp add mod replId">
        <pc:chgData name="Mohamed Ibissi" userId="90b6f8706c8cb808" providerId="LiveId" clId="{0A7FBB52-A209-4350-A6C8-DCE7C2CB10A7}" dt="2024-11-11T01:17:25.833" v="2595" actId="167"/>
        <pc:sldMkLst>
          <pc:docMk/>
          <pc:sldMk cId="1993648033" sldId="2134806647"/>
        </pc:sldMkLst>
        <pc:graphicFrameChg chg="del">
          <ac:chgData name="Mohamed Ibissi" userId="90b6f8706c8cb808" providerId="LiveId" clId="{0A7FBB52-A209-4350-A6C8-DCE7C2CB10A7}" dt="2024-11-11T01:17:22.050" v="2593" actId="478"/>
          <ac:graphicFrameMkLst>
            <pc:docMk/>
            <pc:sldMk cId="1993648033" sldId="2134806647"/>
            <ac:graphicFrameMk id="4" creationId="{4FBF0979-3B45-81E0-DADA-184A4B4637DC}"/>
          </ac:graphicFrameMkLst>
        </pc:graphicFrameChg>
        <pc:picChg chg="add mod ord">
          <ac:chgData name="Mohamed Ibissi" userId="90b6f8706c8cb808" providerId="LiveId" clId="{0A7FBB52-A209-4350-A6C8-DCE7C2CB10A7}" dt="2024-11-11T01:17:25.833" v="2595" actId="167"/>
          <ac:picMkLst>
            <pc:docMk/>
            <pc:sldMk cId="1993648033" sldId="2134806647"/>
            <ac:picMk id="3" creationId="{A2A73626-951D-6B3C-9BDC-EF1089046B0D}"/>
          </ac:picMkLst>
        </pc:picChg>
      </pc:sldChg>
      <pc:sldChg chg="addSp delSp modSp add mod replId">
        <pc:chgData name="Mohamed Ibissi" userId="90b6f8706c8cb808" providerId="LiveId" clId="{0A7FBB52-A209-4350-A6C8-DCE7C2CB10A7}" dt="2024-11-11T01:17:36.637" v="2598" actId="167"/>
        <pc:sldMkLst>
          <pc:docMk/>
          <pc:sldMk cId="562026693" sldId="2134806648"/>
        </pc:sldMkLst>
        <pc:graphicFrameChg chg="del">
          <ac:chgData name="Mohamed Ibissi" userId="90b6f8706c8cb808" providerId="LiveId" clId="{0A7FBB52-A209-4350-A6C8-DCE7C2CB10A7}" dt="2024-11-11T01:17:33.354" v="2596" actId="478"/>
          <ac:graphicFrameMkLst>
            <pc:docMk/>
            <pc:sldMk cId="562026693" sldId="2134806648"/>
            <ac:graphicFrameMk id="4" creationId="{47F56DB1-7DB1-718D-5AC8-67C67D5FD137}"/>
          </ac:graphicFrameMkLst>
        </pc:graphicFrameChg>
        <pc:picChg chg="add mod ord">
          <ac:chgData name="Mohamed Ibissi" userId="90b6f8706c8cb808" providerId="LiveId" clId="{0A7FBB52-A209-4350-A6C8-DCE7C2CB10A7}" dt="2024-11-11T01:17:36.637" v="2598" actId="167"/>
          <ac:picMkLst>
            <pc:docMk/>
            <pc:sldMk cId="562026693" sldId="2134806648"/>
            <ac:picMk id="5" creationId="{B4E21443-E690-0A56-BFA6-288E9CA47797}"/>
          </ac:picMkLst>
        </pc:picChg>
      </pc:sldChg>
      <pc:sldChg chg="addSp delSp modSp add mod replId delAnim modAnim">
        <pc:chgData name="Mohamed Ibissi" userId="90b6f8706c8cb808" providerId="LiveId" clId="{0A7FBB52-A209-4350-A6C8-DCE7C2CB10A7}" dt="2024-11-11T01:17:47.237" v="2601" actId="167"/>
        <pc:sldMkLst>
          <pc:docMk/>
          <pc:sldMk cId="3199588004" sldId="2134806649"/>
        </pc:sldMkLst>
        <pc:spChg chg="del">
          <ac:chgData name="Mohamed Ibissi" userId="90b6f8706c8cb808" providerId="LiveId" clId="{0A7FBB52-A209-4350-A6C8-DCE7C2CB10A7}" dt="2024-11-10T23:31:08.224" v="1710" actId="478"/>
          <ac:spMkLst>
            <pc:docMk/>
            <pc:sldMk cId="3199588004" sldId="2134806649"/>
            <ac:spMk id="3" creationId="{B6B677EE-B1C5-16E8-E8D0-55A01ADE4F5A}"/>
          </ac:spMkLst>
        </pc:spChg>
        <pc:spChg chg="del">
          <ac:chgData name="Mohamed Ibissi" userId="90b6f8706c8cb808" providerId="LiveId" clId="{0A7FBB52-A209-4350-A6C8-DCE7C2CB10A7}" dt="2024-11-10T23:31:08.224" v="1710" actId="478"/>
          <ac:spMkLst>
            <pc:docMk/>
            <pc:sldMk cId="3199588004" sldId="2134806649"/>
            <ac:spMk id="6" creationId="{17F15B91-CE2D-20C9-18B5-F58A3B35492A}"/>
          </ac:spMkLst>
        </pc:spChg>
        <pc:spChg chg="del">
          <ac:chgData name="Mohamed Ibissi" userId="90b6f8706c8cb808" providerId="LiveId" clId="{0A7FBB52-A209-4350-A6C8-DCE7C2CB10A7}" dt="2024-11-10T23:31:08.224" v="1710" actId="478"/>
          <ac:spMkLst>
            <pc:docMk/>
            <pc:sldMk cId="3199588004" sldId="2134806649"/>
            <ac:spMk id="7" creationId="{6EF6CC54-387D-A1E4-265B-F087C7E3B1C7}"/>
          </ac:spMkLst>
        </pc:spChg>
        <pc:spChg chg="del">
          <ac:chgData name="Mohamed Ibissi" userId="90b6f8706c8cb808" providerId="LiveId" clId="{0A7FBB52-A209-4350-A6C8-DCE7C2CB10A7}" dt="2024-11-10T23:31:08.224" v="1710" actId="478"/>
          <ac:spMkLst>
            <pc:docMk/>
            <pc:sldMk cId="3199588004" sldId="2134806649"/>
            <ac:spMk id="8" creationId="{80C00712-9983-F510-9A69-8A5281280C67}"/>
          </ac:spMkLst>
        </pc:spChg>
        <pc:spChg chg="del">
          <ac:chgData name="Mohamed Ibissi" userId="90b6f8706c8cb808" providerId="LiveId" clId="{0A7FBB52-A209-4350-A6C8-DCE7C2CB10A7}" dt="2024-11-10T23:31:08.224" v="1710" actId="478"/>
          <ac:spMkLst>
            <pc:docMk/>
            <pc:sldMk cId="3199588004" sldId="2134806649"/>
            <ac:spMk id="9" creationId="{25BD4D3B-CB4E-3DA2-CA93-663C3ED43A69}"/>
          </ac:spMkLst>
        </pc:spChg>
        <pc:spChg chg="del">
          <ac:chgData name="Mohamed Ibissi" userId="90b6f8706c8cb808" providerId="LiveId" clId="{0A7FBB52-A209-4350-A6C8-DCE7C2CB10A7}" dt="2024-11-10T23:31:08.224" v="1710" actId="478"/>
          <ac:spMkLst>
            <pc:docMk/>
            <pc:sldMk cId="3199588004" sldId="2134806649"/>
            <ac:spMk id="10" creationId="{A434FD1A-7082-1C5A-4BBE-24FBC5DA3C33}"/>
          </ac:spMkLst>
        </pc:spChg>
        <pc:spChg chg="add mod">
          <ac:chgData name="Mohamed Ibissi" userId="90b6f8706c8cb808" providerId="LiveId" clId="{0A7FBB52-A209-4350-A6C8-DCE7C2CB10A7}" dt="2024-11-10T23:31:08.788" v="1711"/>
          <ac:spMkLst>
            <pc:docMk/>
            <pc:sldMk cId="3199588004" sldId="2134806649"/>
            <ac:spMk id="11" creationId="{B41FBF57-6778-8FB4-FCA5-7A0A0CCE93FE}"/>
          </ac:spMkLst>
        </pc:spChg>
        <pc:spChg chg="mod">
          <ac:chgData name="Mohamed Ibissi" userId="90b6f8706c8cb808" providerId="LiveId" clId="{0A7FBB52-A209-4350-A6C8-DCE7C2CB10A7}" dt="2024-11-10T23:31:24" v="1715" actId="20577"/>
          <ac:spMkLst>
            <pc:docMk/>
            <pc:sldMk cId="3199588004" sldId="2134806649"/>
            <ac:spMk id="12" creationId="{24B897E7-6855-5B27-B230-60C4D46953C0}"/>
          </ac:spMkLst>
        </pc:spChg>
        <pc:spChg chg="add mod">
          <ac:chgData name="Mohamed Ibissi" userId="90b6f8706c8cb808" providerId="LiveId" clId="{0A7FBB52-A209-4350-A6C8-DCE7C2CB10A7}" dt="2024-11-10T23:31:08.788" v="1711"/>
          <ac:spMkLst>
            <pc:docMk/>
            <pc:sldMk cId="3199588004" sldId="2134806649"/>
            <ac:spMk id="13" creationId="{EFF30602-1090-2370-B73E-CC0E819E3CE2}"/>
          </ac:spMkLst>
        </pc:spChg>
        <pc:spChg chg="del">
          <ac:chgData name="Mohamed Ibissi" userId="90b6f8706c8cb808" providerId="LiveId" clId="{0A7FBB52-A209-4350-A6C8-DCE7C2CB10A7}" dt="2024-11-10T23:31:08.224" v="1710" actId="478"/>
          <ac:spMkLst>
            <pc:docMk/>
            <pc:sldMk cId="3199588004" sldId="2134806649"/>
            <ac:spMk id="14" creationId="{CD05499C-071D-E765-900A-9197EC8BA097}"/>
          </ac:spMkLst>
        </pc:spChg>
        <pc:spChg chg="add mod">
          <ac:chgData name="Mohamed Ibissi" userId="90b6f8706c8cb808" providerId="LiveId" clId="{0A7FBB52-A209-4350-A6C8-DCE7C2CB10A7}" dt="2024-11-10T23:31:08.788" v="1711"/>
          <ac:spMkLst>
            <pc:docMk/>
            <pc:sldMk cId="3199588004" sldId="2134806649"/>
            <ac:spMk id="16" creationId="{BEC7853F-6102-D93A-DB7C-2F343E4FA12C}"/>
          </ac:spMkLst>
        </pc:spChg>
        <pc:spChg chg="add mod">
          <ac:chgData name="Mohamed Ibissi" userId="90b6f8706c8cb808" providerId="LiveId" clId="{0A7FBB52-A209-4350-A6C8-DCE7C2CB10A7}" dt="2024-11-10T23:31:08.788" v="1711"/>
          <ac:spMkLst>
            <pc:docMk/>
            <pc:sldMk cId="3199588004" sldId="2134806649"/>
            <ac:spMk id="17" creationId="{EFB673FA-E397-20CE-E4D9-0372EA20698C}"/>
          </ac:spMkLst>
        </pc:spChg>
        <pc:spChg chg="add mod">
          <ac:chgData name="Mohamed Ibissi" userId="90b6f8706c8cb808" providerId="LiveId" clId="{0A7FBB52-A209-4350-A6C8-DCE7C2CB10A7}" dt="2024-11-10T23:31:08.788" v="1711"/>
          <ac:spMkLst>
            <pc:docMk/>
            <pc:sldMk cId="3199588004" sldId="2134806649"/>
            <ac:spMk id="18" creationId="{B8BC851D-3552-9789-90F3-EBD6B729344E}"/>
          </ac:spMkLst>
        </pc:spChg>
        <pc:spChg chg="add mod">
          <ac:chgData name="Mohamed Ibissi" userId="90b6f8706c8cb808" providerId="LiveId" clId="{0A7FBB52-A209-4350-A6C8-DCE7C2CB10A7}" dt="2024-11-10T23:31:08.788" v="1711"/>
          <ac:spMkLst>
            <pc:docMk/>
            <pc:sldMk cId="3199588004" sldId="2134806649"/>
            <ac:spMk id="19" creationId="{4EF37831-ED03-AE88-811F-2BB86D0CA3C5}"/>
          </ac:spMkLst>
        </pc:spChg>
        <pc:spChg chg="add del mod">
          <ac:chgData name="Mohamed Ibissi" userId="90b6f8706c8cb808" providerId="LiveId" clId="{0A7FBB52-A209-4350-A6C8-DCE7C2CB10A7}" dt="2024-11-10T23:31:14.182" v="1712" actId="478"/>
          <ac:spMkLst>
            <pc:docMk/>
            <pc:sldMk cId="3199588004" sldId="2134806649"/>
            <ac:spMk id="20" creationId="{FF477DA0-5F81-F0A3-8DA8-4A0B981E4FF5}"/>
          </ac:spMkLst>
        </pc:spChg>
        <pc:spChg chg="add mod">
          <ac:chgData name="Mohamed Ibissi" userId="90b6f8706c8cb808" providerId="LiveId" clId="{0A7FBB52-A209-4350-A6C8-DCE7C2CB10A7}" dt="2024-11-10T23:31:08.788" v="1711"/>
          <ac:spMkLst>
            <pc:docMk/>
            <pc:sldMk cId="3199588004" sldId="2134806649"/>
            <ac:spMk id="21" creationId="{8BD60048-356D-8FCC-F4BB-FAD1183BF8C5}"/>
          </ac:spMkLst>
        </pc:spChg>
        <pc:spChg chg="add mod">
          <ac:chgData name="Mohamed Ibissi" userId="90b6f8706c8cb808" providerId="LiveId" clId="{0A7FBB52-A209-4350-A6C8-DCE7C2CB10A7}" dt="2024-11-10T23:31:08.788" v="1711"/>
          <ac:spMkLst>
            <pc:docMk/>
            <pc:sldMk cId="3199588004" sldId="2134806649"/>
            <ac:spMk id="22" creationId="{3238CA9F-295A-A9F1-4EAC-D460719DBE0D}"/>
          </ac:spMkLst>
        </pc:spChg>
        <pc:spChg chg="add mod">
          <ac:chgData name="Mohamed Ibissi" userId="90b6f8706c8cb808" providerId="LiveId" clId="{0A7FBB52-A209-4350-A6C8-DCE7C2CB10A7}" dt="2024-11-10T23:31:36.231" v="1718" actId="20577"/>
          <ac:spMkLst>
            <pc:docMk/>
            <pc:sldMk cId="3199588004" sldId="2134806649"/>
            <ac:spMk id="23" creationId="{D14AD474-4739-9499-8CAF-1B6D9C9F5DED}"/>
          </ac:spMkLst>
        </pc:spChg>
        <pc:graphicFrameChg chg="del">
          <ac:chgData name="Mohamed Ibissi" userId="90b6f8706c8cb808" providerId="LiveId" clId="{0A7FBB52-A209-4350-A6C8-DCE7C2CB10A7}" dt="2024-11-11T01:17:43.872" v="2599" actId="478"/>
          <ac:graphicFrameMkLst>
            <pc:docMk/>
            <pc:sldMk cId="3199588004" sldId="2134806649"/>
            <ac:graphicFrameMk id="4" creationId="{FACEA14E-457A-2E01-1CC4-9E750AFDB000}"/>
          </ac:graphicFrameMkLst>
        </pc:graphicFrameChg>
        <pc:picChg chg="add mod">
          <ac:chgData name="Mohamed Ibissi" userId="90b6f8706c8cb808" providerId="LiveId" clId="{0A7FBB52-A209-4350-A6C8-DCE7C2CB10A7}" dt="2024-11-10T23:31:08.788" v="1711"/>
          <ac:picMkLst>
            <pc:docMk/>
            <pc:sldMk cId="3199588004" sldId="2134806649"/>
            <ac:picMk id="2" creationId="{E5CCF86F-9BF3-1D8B-8165-CC5FADAF8F9A}"/>
          </ac:picMkLst>
        </pc:picChg>
        <pc:picChg chg="add mod ord">
          <ac:chgData name="Mohamed Ibissi" userId="90b6f8706c8cb808" providerId="LiveId" clId="{0A7FBB52-A209-4350-A6C8-DCE7C2CB10A7}" dt="2024-11-11T01:17:47.237" v="2601" actId="167"/>
          <ac:picMkLst>
            <pc:docMk/>
            <pc:sldMk cId="3199588004" sldId="2134806649"/>
            <ac:picMk id="3" creationId="{7A8E614D-DB30-9210-7A71-41B63E3013F0}"/>
          </ac:picMkLst>
        </pc:picChg>
        <pc:picChg chg="del">
          <ac:chgData name="Mohamed Ibissi" userId="90b6f8706c8cb808" providerId="LiveId" clId="{0A7FBB52-A209-4350-A6C8-DCE7C2CB10A7}" dt="2024-11-10T23:31:08.224" v="1710" actId="478"/>
          <ac:picMkLst>
            <pc:docMk/>
            <pc:sldMk cId="3199588004" sldId="2134806649"/>
            <ac:picMk id="5" creationId="{EA33ECD3-F034-81AB-BECC-B847E5E404C2}"/>
          </ac:picMkLst>
        </pc:picChg>
      </pc:sldChg>
      <pc:sldChg chg="addSp delSp modSp add mod ord">
        <pc:chgData name="Mohamed Ibissi" userId="90b6f8706c8cb808" providerId="LiveId" clId="{0A7FBB52-A209-4350-A6C8-DCE7C2CB10A7}" dt="2024-11-11T01:14:31.044" v="2552" actId="167"/>
        <pc:sldMkLst>
          <pc:docMk/>
          <pc:sldMk cId="3542449162" sldId="2134806650"/>
        </pc:sldMkLst>
        <pc:spChg chg="mod">
          <ac:chgData name="Mohamed Ibissi" userId="90b6f8706c8cb808" providerId="LiveId" clId="{0A7FBB52-A209-4350-A6C8-DCE7C2CB10A7}" dt="2024-11-10T23:52:53.834" v="2029" actId="20577"/>
          <ac:spMkLst>
            <pc:docMk/>
            <pc:sldMk cId="3542449162" sldId="2134806650"/>
            <ac:spMk id="7" creationId="{DC46162C-B6B0-C4AD-11F3-83F6C997B985}"/>
          </ac:spMkLst>
        </pc:spChg>
        <pc:spChg chg="mod">
          <ac:chgData name="Mohamed Ibissi" userId="90b6f8706c8cb808" providerId="LiveId" clId="{0A7FBB52-A209-4350-A6C8-DCE7C2CB10A7}" dt="2024-11-10T23:39:08.788" v="1943" actId="20577"/>
          <ac:spMkLst>
            <pc:docMk/>
            <pc:sldMk cId="3542449162" sldId="2134806650"/>
            <ac:spMk id="8" creationId="{3C24CE75-167D-00AA-46E2-3D2BC40FDBAF}"/>
          </ac:spMkLst>
        </pc:spChg>
        <pc:graphicFrameChg chg="del">
          <ac:chgData name="Mohamed Ibissi" userId="90b6f8706c8cb808" providerId="LiveId" clId="{0A7FBB52-A209-4350-A6C8-DCE7C2CB10A7}" dt="2024-11-11T01:14:27.496" v="2550" actId="478"/>
          <ac:graphicFrameMkLst>
            <pc:docMk/>
            <pc:sldMk cId="3542449162" sldId="2134806650"/>
            <ac:graphicFrameMk id="4" creationId="{2D193533-256E-1794-6B54-774CB717C279}"/>
          </ac:graphicFrameMkLst>
        </pc:graphicFrameChg>
        <pc:picChg chg="add mod ord">
          <ac:chgData name="Mohamed Ibissi" userId="90b6f8706c8cb808" providerId="LiveId" clId="{0A7FBB52-A209-4350-A6C8-DCE7C2CB10A7}" dt="2024-11-11T01:14:31.044" v="2552" actId="167"/>
          <ac:picMkLst>
            <pc:docMk/>
            <pc:sldMk cId="3542449162" sldId="2134806650"/>
            <ac:picMk id="6" creationId="{72BDAF55-7F64-4DA4-CC6E-E0A5E5AF0FE8}"/>
          </ac:picMkLst>
        </pc:picChg>
      </pc:sldChg>
      <pc:sldChg chg="addSp delSp modSp add mod ord replId delAnim modAnim">
        <pc:chgData name="Mohamed Ibissi" userId="90b6f8706c8cb808" providerId="LiveId" clId="{0A7FBB52-A209-4350-A6C8-DCE7C2CB10A7}" dt="2024-11-11T01:14:40.939" v="2555" actId="167"/>
        <pc:sldMkLst>
          <pc:docMk/>
          <pc:sldMk cId="524507643" sldId="2134806651"/>
        </pc:sldMkLst>
        <pc:spChg chg="mod">
          <ac:chgData name="Mohamed Ibissi" userId="90b6f8706c8cb808" providerId="LiveId" clId="{0A7FBB52-A209-4350-A6C8-DCE7C2CB10A7}" dt="2024-11-10T23:40:45.235" v="1981" actId="20577"/>
          <ac:spMkLst>
            <pc:docMk/>
            <pc:sldMk cId="524507643" sldId="2134806651"/>
            <ac:spMk id="2" creationId="{DB126D9C-E5B5-94FE-3359-A9A6E8560C8E}"/>
          </ac:spMkLst>
        </pc:spChg>
        <pc:spChg chg="mod">
          <ac:chgData name="Mohamed Ibissi" userId="90b6f8706c8cb808" providerId="LiveId" clId="{0A7FBB52-A209-4350-A6C8-DCE7C2CB10A7}" dt="2024-11-10T23:41:32.270" v="1989" actId="20577"/>
          <ac:spMkLst>
            <pc:docMk/>
            <pc:sldMk cId="524507643" sldId="2134806651"/>
            <ac:spMk id="8" creationId="{3E27A26F-EBDD-2367-A4EC-D6146794B140}"/>
          </ac:spMkLst>
        </pc:spChg>
        <pc:spChg chg="mod">
          <ac:chgData name="Mohamed Ibissi" userId="90b6f8706c8cb808" providerId="LiveId" clId="{0A7FBB52-A209-4350-A6C8-DCE7C2CB10A7}" dt="2024-11-10T23:41:26.095" v="1987" actId="20577"/>
          <ac:spMkLst>
            <pc:docMk/>
            <pc:sldMk cId="524507643" sldId="2134806651"/>
            <ac:spMk id="9" creationId="{5B5FEEDD-32D3-E509-CE55-DDB8959B6A93}"/>
          </ac:spMkLst>
        </pc:spChg>
        <pc:spChg chg="mod">
          <ac:chgData name="Mohamed Ibissi" userId="90b6f8706c8cb808" providerId="LiveId" clId="{0A7FBB52-A209-4350-A6C8-DCE7C2CB10A7}" dt="2024-11-10T23:41:29.096" v="1988" actId="20577"/>
          <ac:spMkLst>
            <pc:docMk/>
            <pc:sldMk cId="524507643" sldId="2134806651"/>
            <ac:spMk id="11" creationId="{8F9CF666-F478-3FBC-0F54-87FFE34B3B5A}"/>
          </ac:spMkLst>
        </pc:spChg>
        <pc:spChg chg="mod">
          <ac:chgData name="Mohamed Ibissi" userId="90b6f8706c8cb808" providerId="LiveId" clId="{0A7FBB52-A209-4350-A6C8-DCE7C2CB10A7}" dt="2024-11-10T23:41:35.163" v="1990" actId="20577"/>
          <ac:spMkLst>
            <pc:docMk/>
            <pc:sldMk cId="524507643" sldId="2134806651"/>
            <ac:spMk id="15" creationId="{AE956010-E1A2-C8A2-EC72-2511F1F22357}"/>
          </ac:spMkLst>
        </pc:spChg>
        <pc:spChg chg="mod">
          <ac:chgData name="Mohamed Ibissi" userId="90b6f8706c8cb808" providerId="LiveId" clId="{0A7FBB52-A209-4350-A6C8-DCE7C2CB10A7}" dt="2024-11-10T23:42:00.819" v="1995" actId="20577"/>
          <ac:spMkLst>
            <pc:docMk/>
            <pc:sldMk cId="524507643" sldId="2134806651"/>
            <ac:spMk id="24" creationId="{41F4F1A2-8586-F821-677C-F326DD75810A}"/>
          </ac:spMkLst>
        </pc:spChg>
        <pc:spChg chg="mod">
          <ac:chgData name="Mohamed Ibissi" userId="90b6f8706c8cb808" providerId="LiveId" clId="{0A7FBB52-A209-4350-A6C8-DCE7C2CB10A7}" dt="2024-11-10T23:41:41.479" v="1991" actId="20577"/>
          <ac:spMkLst>
            <pc:docMk/>
            <pc:sldMk cId="524507643" sldId="2134806651"/>
            <ac:spMk id="25" creationId="{804A7336-458B-91A0-B480-E4BA39ABC026}"/>
          </ac:spMkLst>
        </pc:spChg>
        <pc:spChg chg="mod">
          <ac:chgData name="Mohamed Ibissi" userId="90b6f8706c8cb808" providerId="LiveId" clId="{0A7FBB52-A209-4350-A6C8-DCE7C2CB10A7}" dt="2024-11-10T23:41:43.917" v="1992" actId="20577"/>
          <ac:spMkLst>
            <pc:docMk/>
            <pc:sldMk cId="524507643" sldId="2134806651"/>
            <ac:spMk id="26" creationId="{86F5DAB6-7EB5-C57B-0DB5-058A0D3CC180}"/>
          </ac:spMkLst>
        </pc:spChg>
        <pc:spChg chg="mod">
          <ac:chgData name="Mohamed Ibissi" userId="90b6f8706c8cb808" providerId="LiveId" clId="{0A7FBB52-A209-4350-A6C8-DCE7C2CB10A7}" dt="2024-11-10T23:42:03.712" v="1996" actId="20577"/>
          <ac:spMkLst>
            <pc:docMk/>
            <pc:sldMk cId="524507643" sldId="2134806651"/>
            <ac:spMk id="30" creationId="{A4F47F59-671E-617A-A966-829E52C494EB}"/>
          </ac:spMkLst>
        </pc:spChg>
        <pc:spChg chg="mod">
          <ac:chgData name="Mohamed Ibissi" userId="90b6f8706c8cb808" providerId="LiveId" clId="{0A7FBB52-A209-4350-A6C8-DCE7C2CB10A7}" dt="2024-11-10T23:41:46.621" v="1993" actId="20577"/>
          <ac:spMkLst>
            <pc:docMk/>
            <pc:sldMk cId="524507643" sldId="2134806651"/>
            <ac:spMk id="31" creationId="{6D8A5DE6-03FC-73F9-928B-932CAA307894}"/>
          </ac:spMkLst>
        </pc:spChg>
        <pc:spChg chg="mod">
          <ac:chgData name="Mohamed Ibissi" userId="90b6f8706c8cb808" providerId="LiveId" clId="{0A7FBB52-A209-4350-A6C8-DCE7C2CB10A7}" dt="2024-11-10T23:41:49.452" v="1994" actId="20577"/>
          <ac:spMkLst>
            <pc:docMk/>
            <pc:sldMk cId="524507643" sldId="2134806651"/>
            <ac:spMk id="32" creationId="{B73073E6-321B-F936-95FC-DD4CE12B288D}"/>
          </ac:spMkLst>
        </pc:spChg>
        <pc:grpChg chg="mod">
          <ac:chgData name="Mohamed Ibissi" userId="90b6f8706c8cb808" providerId="LiveId" clId="{0A7FBB52-A209-4350-A6C8-DCE7C2CB10A7}" dt="2024-11-10T23:41:02.375" v="1983" actId="1076"/>
          <ac:grpSpMkLst>
            <pc:docMk/>
            <pc:sldMk cId="524507643" sldId="2134806651"/>
            <ac:grpSpMk id="6" creationId="{3737D5FE-E3C2-A846-2E4C-DF3CE104665D}"/>
          </ac:grpSpMkLst>
        </pc:grpChg>
        <pc:grpChg chg="mod">
          <ac:chgData name="Mohamed Ibissi" userId="90b6f8706c8cb808" providerId="LiveId" clId="{0A7FBB52-A209-4350-A6C8-DCE7C2CB10A7}" dt="2024-11-10T23:40:58.043" v="1982" actId="1076"/>
          <ac:grpSpMkLst>
            <pc:docMk/>
            <pc:sldMk cId="524507643" sldId="2134806651"/>
            <ac:grpSpMk id="12" creationId="{D6C6D77B-74D9-E1D8-7123-E0B47EC45BAD}"/>
          </ac:grpSpMkLst>
        </pc:grpChg>
        <pc:grpChg chg="del mod">
          <ac:chgData name="Mohamed Ibissi" userId="90b6f8706c8cb808" providerId="LiveId" clId="{0A7FBB52-A209-4350-A6C8-DCE7C2CB10A7}" dt="2024-11-10T23:39:22.235" v="1944" actId="478"/>
          <ac:grpSpMkLst>
            <pc:docMk/>
            <pc:sldMk cId="524507643" sldId="2134806651"/>
            <ac:grpSpMk id="17" creationId="{5A4E264A-86C4-B3A1-103B-722B8F8B75B4}"/>
          </ac:grpSpMkLst>
        </pc:grpChg>
        <pc:grpChg chg="add mod">
          <ac:chgData name="Mohamed Ibissi" userId="90b6f8706c8cb808" providerId="LiveId" clId="{0A7FBB52-A209-4350-A6C8-DCE7C2CB10A7}" dt="2024-11-10T23:41:20.687" v="1986" actId="1076"/>
          <ac:grpSpMkLst>
            <pc:docMk/>
            <pc:sldMk cId="524507643" sldId="2134806651"/>
            <ac:grpSpMk id="22" creationId="{8ABC1DEE-0EFF-C3ED-09AD-1D7587F9F8CE}"/>
          </ac:grpSpMkLst>
        </pc:grpChg>
        <pc:grpChg chg="add mod">
          <ac:chgData name="Mohamed Ibissi" userId="90b6f8706c8cb808" providerId="LiveId" clId="{0A7FBB52-A209-4350-A6C8-DCE7C2CB10A7}" dt="2024-11-10T23:41:20.687" v="1986" actId="1076"/>
          <ac:grpSpMkLst>
            <pc:docMk/>
            <pc:sldMk cId="524507643" sldId="2134806651"/>
            <ac:grpSpMk id="28" creationId="{9AB9AE7C-A266-A106-923C-DF978180FF3E}"/>
          </ac:grpSpMkLst>
        </pc:grpChg>
        <pc:graphicFrameChg chg="del">
          <ac:chgData name="Mohamed Ibissi" userId="90b6f8706c8cb808" providerId="LiveId" clId="{0A7FBB52-A209-4350-A6C8-DCE7C2CB10A7}" dt="2024-11-11T01:14:37.610" v="2553" actId="478"/>
          <ac:graphicFrameMkLst>
            <pc:docMk/>
            <pc:sldMk cId="524507643" sldId="2134806651"/>
            <ac:graphicFrameMk id="4" creationId="{5705D46F-0DDB-B288-9265-F47AF8D786AC}"/>
          </ac:graphicFrameMkLst>
        </pc:graphicFrameChg>
        <pc:picChg chg="add mod ord">
          <ac:chgData name="Mohamed Ibissi" userId="90b6f8706c8cb808" providerId="LiveId" clId="{0A7FBB52-A209-4350-A6C8-DCE7C2CB10A7}" dt="2024-11-11T01:14:40.939" v="2555" actId="167"/>
          <ac:picMkLst>
            <pc:docMk/>
            <pc:sldMk cId="524507643" sldId="2134806651"/>
            <ac:picMk id="16" creationId="{A0BD41A5-0940-437A-47AC-8351ABA8B00D}"/>
          </ac:picMkLst>
        </pc:picChg>
        <pc:picChg chg="mod">
          <ac:chgData name="Mohamed Ibissi" userId="90b6f8706c8cb808" providerId="LiveId" clId="{0A7FBB52-A209-4350-A6C8-DCE7C2CB10A7}" dt="2024-11-10T23:41:12.194" v="1985"/>
          <ac:picMkLst>
            <pc:docMk/>
            <pc:sldMk cId="524507643" sldId="2134806651"/>
            <ac:picMk id="23" creationId="{BE0B78C8-CA46-EE75-7619-2B50119BA093}"/>
          </ac:picMkLst>
        </pc:picChg>
        <pc:picChg chg="mod">
          <ac:chgData name="Mohamed Ibissi" userId="90b6f8706c8cb808" providerId="LiveId" clId="{0A7FBB52-A209-4350-A6C8-DCE7C2CB10A7}" dt="2024-11-10T23:41:12.194" v="1985"/>
          <ac:picMkLst>
            <pc:docMk/>
            <pc:sldMk cId="524507643" sldId="2134806651"/>
            <ac:picMk id="29" creationId="{D631D408-C388-772C-9C7C-A2B21FD1E467}"/>
          </ac:picMkLst>
        </pc:picChg>
        <pc:cxnChg chg="mod">
          <ac:chgData name="Mohamed Ibissi" userId="90b6f8706c8cb808" providerId="LiveId" clId="{0A7FBB52-A209-4350-A6C8-DCE7C2CB10A7}" dt="2024-11-10T23:41:08.019" v="1984" actId="1076"/>
          <ac:cxnSpMkLst>
            <pc:docMk/>
            <pc:sldMk cId="524507643" sldId="2134806651"/>
            <ac:cxnSpMk id="14" creationId="{D1156DE2-3AB4-AEB9-FF0F-5E08DEB2CFB7}"/>
          </ac:cxnSpMkLst>
        </pc:cxnChg>
        <pc:cxnChg chg="del mod">
          <ac:chgData name="Mohamed Ibissi" userId="90b6f8706c8cb808" providerId="LiveId" clId="{0A7FBB52-A209-4350-A6C8-DCE7C2CB10A7}" dt="2024-11-10T23:39:24.332" v="1945" actId="478"/>
          <ac:cxnSpMkLst>
            <pc:docMk/>
            <pc:sldMk cId="524507643" sldId="2134806651"/>
            <ac:cxnSpMk id="16" creationId="{044BFAEA-9D89-E84F-5058-091DB85D7F80}"/>
          </ac:cxnSpMkLst>
        </pc:cxnChg>
        <pc:cxnChg chg="add mod">
          <ac:chgData name="Mohamed Ibissi" userId="90b6f8706c8cb808" providerId="LiveId" clId="{0A7FBB52-A209-4350-A6C8-DCE7C2CB10A7}" dt="2024-11-10T23:41:20.687" v="1986" actId="1076"/>
          <ac:cxnSpMkLst>
            <pc:docMk/>
            <pc:sldMk cId="524507643" sldId="2134806651"/>
            <ac:cxnSpMk id="27" creationId="{6CA2924B-750C-0D06-FD0A-32E80D12391E}"/>
          </ac:cxnSpMkLst>
        </pc:cxnChg>
      </pc:sldChg>
      <pc:sldChg chg="modSp mod">
        <pc:chgData name="Mohamed Ibissi" userId="90b6f8706c8cb808" providerId="LiveId" clId="{0A7FBB52-A209-4350-A6C8-DCE7C2CB10A7}" dt="2024-11-12T14:55:47.794" v="2625" actId="2711"/>
        <pc:sldMkLst>
          <pc:docMk/>
          <pc:sldMk cId="771825463" sldId="2134806653"/>
        </pc:sldMkLst>
        <pc:spChg chg="mod">
          <ac:chgData name="Mohamed Ibissi" userId="90b6f8706c8cb808" providerId="LiveId" clId="{0A7FBB52-A209-4350-A6C8-DCE7C2CB10A7}" dt="2024-11-12T14:55:47.794" v="2625" actId="2711"/>
          <ac:spMkLst>
            <pc:docMk/>
            <pc:sldMk cId="771825463" sldId="2134806653"/>
            <ac:spMk id="30" creationId="{2998D8A0-373E-CBC3-F39E-C85374E71F84}"/>
          </ac:spMkLst>
        </pc:spChg>
      </pc:sldChg>
      <pc:sldChg chg="modSp mod">
        <pc:chgData name="Mohamed Ibissi" userId="90b6f8706c8cb808" providerId="LiveId" clId="{0A7FBB52-A209-4350-A6C8-DCE7C2CB10A7}" dt="2024-11-12T14:56:08.494" v="2629" actId="403"/>
        <pc:sldMkLst>
          <pc:docMk/>
          <pc:sldMk cId="3809573710" sldId="2134806654"/>
        </pc:sldMkLst>
        <pc:spChg chg="mod">
          <ac:chgData name="Mohamed Ibissi" userId="90b6f8706c8cb808" providerId="LiveId" clId="{0A7FBB52-A209-4350-A6C8-DCE7C2CB10A7}" dt="2024-11-12T14:56:08.494" v="2629" actId="403"/>
          <ac:spMkLst>
            <pc:docMk/>
            <pc:sldMk cId="3809573710" sldId="2134806654"/>
            <ac:spMk id="2" creationId="{EFB9B008-41AC-BDC5-4B91-5A497B148B44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M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C2F6EA-2943-4A15-A9FB-D4A77DB509D7}" type="datetimeFigureOut">
              <a:rPr lang="fr-MA" smtClean="0"/>
              <a:t>12/11/2024</a:t>
            </a:fld>
            <a:endParaRPr lang="fr-M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M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M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M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580728-7F02-44CF-B57E-CA6F2E760783}" type="slidenum">
              <a:rPr lang="fr-MA" smtClean="0"/>
              <a:t>‹N°›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24898899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M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AE87F-B08A-4342-80EC-80A3A2B8D41A}" type="slidenum">
              <a:rPr kumimoji="0" lang="fr-M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M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osis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41084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580728-7F02-44CF-B57E-CA6F2E760783}" type="slidenum">
              <a:rPr lang="fr-MA" smtClean="0"/>
              <a:t>88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41626920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124078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844272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362930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002650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576532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2969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065224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679777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642528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375066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14316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B3373A-7926-40BB-B6DF-EC289891A864}" type="datetimeFigureOut">
              <a:rPr lang="fr-FR" smtClean="0"/>
              <a:t>12/11/202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E64FE0-3597-494D-885B-97386FF7433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79447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jpeg"/><Relationship Id="rId7" Type="http://schemas.openxmlformats.org/officeDocument/2006/relationships/image" Target="../media/image5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.png"/><Relationship Id="rId5" Type="http://schemas.openxmlformats.org/officeDocument/2006/relationships/image" Target="../media/image3.svg"/><Relationship Id="rId10" Type="http://schemas.openxmlformats.org/officeDocument/2006/relationships/image" Target="../media/image8.png"/><Relationship Id="rId4" Type="http://schemas.openxmlformats.org/officeDocument/2006/relationships/image" Target="../media/image2.png"/><Relationship Id="rId9" Type="http://schemas.openxmlformats.org/officeDocument/2006/relationships/image" Target="../media/image7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0.png"/><Relationship Id="rId4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0.png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0.png"/><Relationship Id="rId4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2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13" Type="http://schemas.openxmlformats.org/officeDocument/2006/relationships/image" Target="../media/image36.png"/><Relationship Id="rId3" Type="http://schemas.openxmlformats.org/officeDocument/2006/relationships/tags" Target="../tags/tag15.xml"/><Relationship Id="rId7" Type="http://schemas.openxmlformats.org/officeDocument/2006/relationships/image" Target="../media/image27.jpeg"/><Relationship Id="rId12" Type="http://schemas.openxmlformats.org/officeDocument/2006/relationships/image" Target="../media/image35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26.jpeg"/><Relationship Id="rId11" Type="http://schemas.openxmlformats.org/officeDocument/2006/relationships/hyperlink" Target="https://openclipart.org/detail/131431/black-marker-marcador-negro" TargetMode="External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34.png"/><Relationship Id="rId4" Type="http://schemas.openxmlformats.org/officeDocument/2006/relationships/tags" Target="../tags/tag16.xml"/><Relationship Id="rId9" Type="http://schemas.openxmlformats.org/officeDocument/2006/relationships/image" Target="../media/image29.png"/><Relationship Id="rId14" Type="http://schemas.openxmlformats.org/officeDocument/2006/relationships/image" Target="../media/image3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38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1.jpeg"/><Relationship Id="rId7" Type="http://schemas.openxmlformats.org/officeDocument/2006/relationships/image" Target="../media/image11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10.png"/><Relationship Id="rId11" Type="http://schemas.openxmlformats.org/officeDocument/2006/relationships/image" Target="../media/image3.svg"/><Relationship Id="rId5" Type="http://schemas.openxmlformats.org/officeDocument/2006/relationships/image" Target="../media/image9.emf"/><Relationship Id="rId10" Type="http://schemas.openxmlformats.org/officeDocument/2006/relationships/image" Target="../media/image2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3.svg"/></Relationships>
</file>

<file path=ppt/slides/_rels/slide20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26.jpeg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jpeg"/><Relationship Id="rId9" Type="http://schemas.openxmlformats.org/officeDocument/2006/relationships/image" Target="../media/image43.png"/></Relationships>
</file>

<file path=ppt/slides/_rels/slide2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26.jpeg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6" Type="http://schemas.openxmlformats.org/officeDocument/2006/relationships/image" Target="../media/image30.png"/><Relationship Id="rId5" Type="http://schemas.openxmlformats.org/officeDocument/2006/relationships/image" Target="../media/image40.png"/><Relationship Id="rId4" Type="http://schemas.openxmlformats.org/officeDocument/2006/relationships/image" Target="../media/image39.jpeg"/><Relationship Id="rId9" Type="http://schemas.openxmlformats.org/officeDocument/2006/relationships/image" Target="../media/image43.png"/></Relationships>
</file>

<file path=ppt/slides/_rels/slide2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26.jpeg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Relationship Id="rId6" Type="http://schemas.openxmlformats.org/officeDocument/2006/relationships/image" Target="../media/image30.png"/><Relationship Id="rId5" Type="http://schemas.openxmlformats.org/officeDocument/2006/relationships/image" Target="../media/image40.png"/><Relationship Id="rId4" Type="http://schemas.openxmlformats.org/officeDocument/2006/relationships/image" Target="../media/image39.jpeg"/><Relationship Id="rId9" Type="http://schemas.openxmlformats.org/officeDocument/2006/relationships/image" Target="../media/image43.png"/></Relationships>
</file>

<file path=ppt/slides/_rels/slide23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26.jpeg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6" Type="http://schemas.openxmlformats.org/officeDocument/2006/relationships/image" Target="../media/image30.png"/><Relationship Id="rId5" Type="http://schemas.openxmlformats.org/officeDocument/2006/relationships/image" Target="../media/image40.png"/><Relationship Id="rId4" Type="http://schemas.openxmlformats.org/officeDocument/2006/relationships/image" Target="../media/image39.jpeg"/><Relationship Id="rId9" Type="http://schemas.openxmlformats.org/officeDocument/2006/relationships/image" Target="../media/image4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5.png"/><Relationship Id="rId5" Type="http://schemas.microsoft.com/office/2007/relationships/hdphoto" Target="../media/hdphoto3.wdp"/><Relationship Id="rId4" Type="http://schemas.openxmlformats.org/officeDocument/2006/relationships/image" Target="../media/image4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6" Type="http://schemas.microsoft.com/office/2007/relationships/hdphoto" Target="../media/hdphoto3.wdp"/><Relationship Id="rId5" Type="http://schemas.openxmlformats.org/officeDocument/2006/relationships/image" Target="../media/image44.png"/><Relationship Id="rId4" Type="http://schemas.openxmlformats.org/officeDocument/2006/relationships/image" Target="../media/image4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5.png"/><Relationship Id="rId5" Type="http://schemas.microsoft.com/office/2007/relationships/hdphoto" Target="../media/hdphoto3.wdp"/><Relationship Id="rId4" Type="http://schemas.openxmlformats.org/officeDocument/2006/relationships/image" Target="../media/image4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38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image" Target="../media/image15.pn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image" Target="../media/image11.svg"/><Relationship Id="rId2" Type="http://schemas.openxmlformats.org/officeDocument/2006/relationships/tags" Target="../tags/tag3.xml"/><Relationship Id="rId16" Type="http://schemas.openxmlformats.org/officeDocument/2006/relationships/image" Target="../media/image18.jp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image" Target="../media/image10.png"/><Relationship Id="rId5" Type="http://schemas.openxmlformats.org/officeDocument/2006/relationships/tags" Target="../tags/tag6.xml"/><Relationship Id="rId15" Type="http://schemas.openxmlformats.org/officeDocument/2006/relationships/image" Target="../media/image17.png"/><Relationship Id="rId10" Type="http://schemas.openxmlformats.org/officeDocument/2006/relationships/image" Target="../media/image14.jpeg"/><Relationship Id="rId4" Type="http://schemas.openxmlformats.org/officeDocument/2006/relationships/tags" Target="../tags/tag5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7" Type="http://schemas.openxmlformats.org/officeDocument/2006/relationships/image" Target="../media/image4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jpe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26.jpeg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Relationship Id="rId6" Type="http://schemas.openxmlformats.org/officeDocument/2006/relationships/image" Target="../media/image30.png"/><Relationship Id="rId5" Type="http://schemas.openxmlformats.org/officeDocument/2006/relationships/image" Target="../media/image40.png"/><Relationship Id="rId4" Type="http://schemas.openxmlformats.org/officeDocument/2006/relationships/image" Target="../media/image39.jpe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26.jpeg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6" Type="http://schemas.openxmlformats.org/officeDocument/2006/relationships/image" Target="../media/image30.png"/><Relationship Id="rId5" Type="http://schemas.openxmlformats.org/officeDocument/2006/relationships/image" Target="../media/image40.png"/><Relationship Id="rId4" Type="http://schemas.openxmlformats.org/officeDocument/2006/relationships/image" Target="../media/image39.jpe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26.jpeg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4.xml"/><Relationship Id="rId6" Type="http://schemas.openxmlformats.org/officeDocument/2006/relationships/image" Target="../media/image30.png"/><Relationship Id="rId5" Type="http://schemas.openxmlformats.org/officeDocument/2006/relationships/image" Target="../media/image40.png"/><Relationship Id="rId4" Type="http://schemas.openxmlformats.org/officeDocument/2006/relationships/image" Target="../media/image39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8.png"/><Relationship Id="rId5" Type="http://schemas.microsoft.com/office/2007/relationships/hdphoto" Target="../media/hdphoto3.wdp"/><Relationship Id="rId4" Type="http://schemas.openxmlformats.org/officeDocument/2006/relationships/image" Target="../media/image44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6" Type="http://schemas.microsoft.com/office/2007/relationships/hdphoto" Target="../media/hdphoto3.wdp"/><Relationship Id="rId5" Type="http://schemas.openxmlformats.org/officeDocument/2006/relationships/image" Target="../media/image44.png"/><Relationship Id="rId4" Type="http://schemas.openxmlformats.org/officeDocument/2006/relationships/image" Target="../media/image48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8.png"/><Relationship Id="rId4" Type="http://schemas.openxmlformats.org/officeDocument/2006/relationships/image" Target="../media/image46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8.png"/><Relationship Id="rId5" Type="http://schemas.microsoft.com/office/2007/relationships/hdphoto" Target="../media/hdphoto3.wdp"/><Relationship Id="rId4" Type="http://schemas.openxmlformats.org/officeDocument/2006/relationships/image" Target="../media/image4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8.png"/><Relationship Id="rId4" Type="http://schemas.openxmlformats.org/officeDocument/2006/relationships/image" Target="../media/image46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8.png"/><Relationship Id="rId5" Type="http://schemas.microsoft.com/office/2007/relationships/hdphoto" Target="../media/hdphoto3.wdp"/><Relationship Id="rId4" Type="http://schemas.openxmlformats.org/officeDocument/2006/relationships/image" Target="../media/image4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8.png"/><Relationship Id="rId4" Type="http://schemas.openxmlformats.org/officeDocument/2006/relationships/image" Target="../media/image46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38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6" Type="http://schemas.openxmlformats.org/officeDocument/2006/relationships/image" Target="../media/image50.png"/><Relationship Id="rId5" Type="http://schemas.openxmlformats.org/officeDocument/2006/relationships/image" Target="../media/image49.jpeg"/><Relationship Id="rId4" Type="http://schemas.openxmlformats.org/officeDocument/2006/relationships/image" Target="../media/image39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.xml"/><Relationship Id="rId6" Type="http://schemas.openxmlformats.org/officeDocument/2006/relationships/image" Target="../media/image50.png"/><Relationship Id="rId5" Type="http://schemas.openxmlformats.org/officeDocument/2006/relationships/image" Target="../media/image49.jpeg"/><Relationship Id="rId4" Type="http://schemas.openxmlformats.org/officeDocument/2006/relationships/image" Target="../media/image39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7.xml"/><Relationship Id="rId6" Type="http://schemas.openxmlformats.org/officeDocument/2006/relationships/image" Target="../media/image51.png"/><Relationship Id="rId5" Type="http://schemas.openxmlformats.org/officeDocument/2006/relationships/image" Target="../media/image49.jpeg"/><Relationship Id="rId4" Type="http://schemas.openxmlformats.org/officeDocument/2006/relationships/image" Target="../media/image39.jpe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.xml"/><Relationship Id="rId6" Type="http://schemas.openxmlformats.org/officeDocument/2006/relationships/image" Target="../media/image51.png"/><Relationship Id="rId5" Type="http://schemas.openxmlformats.org/officeDocument/2006/relationships/image" Target="../media/image49.jpeg"/><Relationship Id="rId4" Type="http://schemas.openxmlformats.org/officeDocument/2006/relationships/image" Target="../media/image39.jpe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1.png"/><Relationship Id="rId4" Type="http://schemas.openxmlformats.org/officeDocument/2006/relationships/image" Target="../media/image46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52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9.xml"/><Relationship Id="rId6" Type="http://schemas.openxmlformats.org/officeDocument/2006/relationships/image" Target="../media/image54.png"/><Relationship Id="rId5" Type="http://schemas.openxmlformats.org/officeDocument/2006/relationships/image" Target="../media/image40.png"/><Relationship Id="rId4" Type="http://schemas.openxmlformats.org/officeDocument/2006/relationships/image" Target="../media/image53.jpe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0.xml"/><Relationship Id="rId6" Type="http://schemas.openxmlformats.org/officeDocument/2006/relationships/image" Target="../media/image55.png"/><Relationship Id="rId5" Type="http://schemas.openxmlformats.org/officeDocument/2006/relationships/image" Target="../media/image40.png"/><Relationship Id="rId4" Type="http://schemas.openxmlformats.org/officeDocument/2006/relationships/image" Target="../media/image5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1.xml"/><Relationship Id="rId6" Type="http://schemas.openxmlformats.org/officeDocument/2006/relationships/image" Target="../media/image55.png"/><Relationship Id="rId5" Type="http://schemas.openxmlformats.org/officeDocument/2006/relationships/image" Target="../media/image40.png"/><Relationship Id="rId4" Type="http://schemas.openxmlformats.org/officeDocument/2006/relationships/image" Target="../media/image53.jpe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0.png"/><Relationship Id="rId4" Type="http://schemas.openxmlformats.org/officeDocument/2006/relationships/image" Target="../media/image56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0.png"/><Relationship Id="rId4" Type="http://schemas.openxmlformats.org/officeDocument/2006/relationships/image" Target="../media/image56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5.png"/><Relationship Id="rId5" Type="http://schemas.microsoft.com/office/2007/relationships/hdphoto" Target="../media/hdphoto3.wdp"/><Relationship Id="rId4" Type="http://schemas.openxmlformats.org/officeDocument/2006/relationships/image" Target="../media/image44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7.jpe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9.png"/><Relationship Id="rId4" Type="http://schemas.openxmlformats.org/officeDocument/2006/relationships/image" Target="../media/image58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9.png"/><Relationship Id="rId4" Type="http://schemas.openxmlformats.org/officeDocument/2006/relationships/image" Target="../media/image29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5.png"/><Relationship Id="rId4" Type="http://schemas.openxmlformats.org/officeDocument/2006/relationships/image" Target="../media/image46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5.png"/><Relationship Id="rId5" Type="http://schemas.microsoft.com/office/2007/relationships/hdphoto" Target="../media/hdphoto3.wdp"/><Relationship Id="rId4" Type="http://schemas.openxmlformats.org/officeDocument/2006/relationships/image" Target="../media/image44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7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0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4.jpeg"/><Relationship Id="rId5" Type="http://schemas.openxmlformats.org/officeDocument/2006/relationships/image" Target="../media/image9.emf"/><Relationship Id="rId10" Type="http://schemas.openxmlformats.org/officeDocument/2006/relationships/oleObject" Target="../embeddings/oleObject3.bin"/><Relationship Id="rId4" Type="http://schemas.openxmlformats.org/officeDocument/2006/relationships/oleObject" Target="../embeddings/oleObject2.bin"/><Relationship Id="rId9" Type="http://schemas.openxmlformats.org/officeDocument/2006/relationships/image" Target="../media/image20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9.png"/><Relationship Id="rId4" Type="http://schemas.openxmlformats.org/officeDocument/2006/relationships/image" Target="../media/image58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9.png"/><Relationship Id="rId4" Type="http://schemas.openxmlformats.org/officeDocument/2006/relationships/image" Target="../media/image29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5.png"/><Relationship Id="rId4" Type="http://schemas.openxmlformats.org/officeDocument/2006/relationships/image" Target="../media/image46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.xml"/><Relationship Id="rId6" Type="http://schemas.openxmlformats.org/officeDocument/2006/relationships/image" Target="../media/image60.png"/><Relationship Id="rId5" Type="http://schemas.openxmlformats.org/officeDocument/2006/relationships/image" Target="../media/image40.png"/><Relationship Id="rId4" Type="http://schemas.openxmlformats.org/officeDocument/2006/relationships/image" Target="../media/image53.jpe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3.xml"/><Relationship Id="rId6" Type="http://schemas.openxmlformats.org/officeDocument/2006/relationships/image" Target="../media/image60.png"/><Relationship Id="rId5" Type="http://schemas.openxmlformats.org/officeDocument/2006/relationships/image" Target="../media/image40.png"/><Relationship Id="rId4" Type="http://schemas.openxmlformats.org/officeDocument/2006/relationships/image" Target="../media/image53.jpe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0.png"/><Relationship Id="rId4" Type="http://schemas.openxmlformats.org/officeDocument/2006/relationships/image" Target="../media/image56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0.png"/><Relationship Id="rId4" Type="http://schemas.openxmlformats.org/officeDocument/2006/relationships/image" Target="../media/image56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6" Type="http://schemas.microsoft.com/office/2007/relationships/hdphoto" Target="../media/hdphoto3.wdp"/><Relationship Id="rId5" Type="http://schemas.openxmlformats.org/officeDocument/2006/relationships/image" Target="../media/image44.png"/><Relationship Id="rId4" Type="http://schemas.openxmlformats.org/officeDocument/2006/relationships/image" Target="../media/image60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7.jpe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9.png"/><Relationship Id="rId4" Type="http://schemas.openxmlformats.org/officeDocument/2006/relationships/image" Target="../media/image5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21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.xml"/><Relationship Id="rId6" Type="http://schemas.openxmlformats.org/officeDocument/2006/relationships/image" Target="../media/image10.png"/><Relationship Id="rId5" Type="http://schemas.openxmlformats.org/officeDocument/2006/relationships/image" Target="../media/image14.jpeg"/><Relationship Id="rId10" Type="http://schemas.openxmlformats.org/officeDocument/2006/relationships/image" Target="../media/image24.svg"/><Relationship Id="rId4" Type="http://schemas.openxmlformats.org/officeDocument/2006/relationships/image" Target="../media/image9.emf"/><Relationship Id="rId9" Type="http://schemas.openxmlformats.org/officeDocument/2006/relationships/image" Target="../media/image23.pn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9.png"/><Relationship Id="rId4" Type="http://schemas.openxmlformats.org/officeDocument/2006/relationships/image" Target="../media/image29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6.png"/><Relationship Id="rId4" Type="http://schemas.openxmlformats.org/officeDocument/2006/relationships/image" Target="../media/image60.pn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6" Type="http://schemas.microsoft.com/office/2007/relationships/hdphoto" Target="../media/hdphoto3.wdp"/><Relationship Id="rId5" Type="http://schemas.openxmlformats.org/officeDocument/2006/relationships/image" Target="../media/image44.png"/><Relationship Id="rId4" Type="http://schemas.openxmlformats.org/officeDocument/2006/relationships/image" Target="../media/image60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7.jpe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9.png"/><Relationship Id="rId4" Type="http://schemas.openxmlformats.org/officeDocument/2006/relationships/image" Target="../media/image58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9.png"/><Relationship Id="rId4" Type="http://schemas.openxmlformats.org/officeDocument/2006/relationships/image" Target="../media/image29.pn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6.png"/><Relationship Id="rId4" Type="http://schemas.openxmlformats.org/officeDocument/2006/relationships/image" Target="../media/image60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6" Type="http://schemas.microsoft.com/office/2007/relationships/hdphoto" Target="../media/hdphoto3.wdp"/><Relationship Id="rId5" Type="http://schemas.openxmlformats.org/officeDocument/2006/relationships/image" Target="../media/image44.png"/><Relationship Id="rId4" Type="http://schemas.openxmlformats.org/officeDocument/2006/relationships/image" Target="../media/image60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7.jpe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9.png"/><Relationship Id="rId4" Type="http://schemas.openxmlformats.org/officeDocument/2006/relationships/image" Target="../media/image58.pn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2.png"/><Relationship Id="rId7" Type="http://schemas.openxmlformats.org/officeDocument/2006/relationships/image" Target="../media/image2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9.png"/><Relationship Id="rId4" Type="http://schemas.openxmlformats.org/officeDocument/2006/relationships/image" Target="../media/image29.pn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0.png"/><Relationship Id="rId4" Type="http://schemas.openxmlformats.org/officeDocument/2006/relationships/image" Target="../media/image46.png"/></Relationships>
</file>

<file path=ppt/slides/_rels/slide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3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.xml"/><Relationship Id="rId6" Type="http://schemas.openxmlformats.org/officeDocument/2006/relationships/image" Target="../media/image2.png"/><Relationship Id="rId11" Type="http://schemas.openxmlformats.org/officeDocument/2006/relationships/image" Target="../media/image62.png"/><Relationship Id="rId5" Type="http://schemas.openxmlformats.org/officeDocument/2006/relationships/image" Target="../media/image14.jpeg"/><Relationship Id="rId10" Type="http://schemas.openxmlformats.org/officeDocument/2006/relationships/image" Target="../media/image61.png"/><Relationship Id="rId4" Type="http://schemas.openxmlformats.org/officeDocument/2006/relationships/image" Target="../media/image9.emf"/><Relationship Id="rId9" Type="http://schemas.openxmlformats.org/officeDocument/2006/relationships/image" Target="../media/image5.sv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4.png"/><Relationship Id="rId5" Type="http://schemas.microsoft.com/office/2007/relationships/hdphoto" Target="../media/hdphoto3.wdp"/><Relationship Id="rId4" Type="http://schemas.openxmlformats.org/officeDocument/2006/relationships/image" Target="../media/image44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4.png"/><Relationship Id="rId4" Type="http://schemas.openxmlformats.org/officeDocument/2006/relationships/image" Target="../media/image65.jpeg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1.jpeg"/><Relationship Id="rId4" Type="http://schemas.openxmlformats.org/officeDocument/2006/relationships/image" Target="../media/image6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316E4EE6-5FAC-D959-07DF-97F11297B41A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Freeform 2"/>
          <p:cNvSpPr/>
          <p:nvPr/>
        </p:nvSpPr>
        <p:spPr>
          <a:xfrm>
            <a:off x="0" y="5198816"/>
            <a:ext cx="1342175" cy="1663803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609630">
              <a:defRPr/>
            </a:pPr>
            <a:endParaRPr lang="fr-MA" sz="90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reeform 4"/>
          <p:cNvSpPr/>
          <p:nvPr/>
        </p:nvSpPr>
        <p:spPr>
          <a:xfrm>
            <a:off x="7365784" y="5005471"/>
            <a:ext cx="1778216" cy="1877929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609630">
              <a:defRPr/>
            </a:pPr>
            <a:endParaRPr lang="fr-MA" sz="90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7">
            <a:extLst>
              <a:ext uri="{FF2B5EF4-FFF2-40B4-BE49-F238E27FC236}">
                <a16:creationId xmlns:a16="http://schemas.microsoft.com/office/drawing/2014/main" id="{45B0A1E8-F2BA-31DC-A793-BDED4E478A5A}"/>
              </a:ext>
            </a:extLst>
          </p:cNvPr>
          <p:cNvSpPr txBox="1"/>
          <p:nvPr/>
        </p:nvSpPr>
        <p:spPr>
          <a:xfrm>
            <a:off x="2250948" y="5073967"/>
            <a:ext cx="4642105" cy="41043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09630" rtl="1">
              <a:defRPr/>
            </a:pPr>
            <a:r>
              <a:rPr lang="ar-MA" sz="2667" b="1" ker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مرحلة 1</a:t>
            </a:r>
            <a:endParaRPr lang="fr-MA" sz="2667" b="1" kern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Freeform 7">
            <a:extLst>
              <a:ext uri="{FF2B5EF4-FFF2-40B4-BE49-F238E27FC236}">
                <a16:creationId xmlns:a16="http://schemas.microsoft.com/office/drawing/2014/main" id="{28FAC4EF-0195-F11C-59A9-D01C957E9116}"/>
              </a:ext>
            </a:extLst>
          </p:cNvPr>
          <p:cNvSpPr/>
          <p:nvPr/>
        </p:nvSpPr>
        <p:spPr>
          <a:xfrm>
            <a:off x="6971239" y="1201614"/>
            <a:ext cx="1488271" cy="1588259"/>
          </a:xfrm>
          <a:custGeom>
            <a:avLst/>
            <a:gdLst/>
            <a:ahLst/>
            <a:cxnLst/>
            <a:rect l="l" t="t" r="r" b="b"/>
            <a:pathLst>
              <a:path w="1446572" h="1650653">
                <a:moveTo>
                  <a:pt x="0" y="0"/>
                </a:moveTo>
                <a:lnTo>
                  <a:pt x="1446572" y="0"/>
                </a:lnTo>
                <a:lnTo>
                  <a:pt x="1446572" y="1650653"/>
                </a:lnTo>
                <a:lnTo>
                  <a:pt x="0" y="165065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M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74B9807-F39C-9CBB-DAEA-3ECF9732CB6E}"/>
              </a:ext>
            </a:extLst>
          </p:cNvPr>
          <p:cNvSpPr txBox="1"/>
          <p:nvPr/>
        </p:nvSpPr>
        <p:spPr>
          <a:xfrm>
            <a:off x="6796058" y="1671862"/>
            <a:ext cx="1838633" cy="436017"/>
          </a:xfrm>
          <a:prstGeom prst="rect">
            <a:avLst/>
          </a:prstGeom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342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3200" b="1" i="0" u="none" strike="noStrike" kern="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المستوى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4BACC6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62166C54-286D-1A8E-39B4-57843635F782}"/>
              </a:ext>
            </a:extLst>
          </p:cNvPr>
          <p:cNvSpPr txBox="1"/>
          <p:nvPr/>
        </p:nvSpPr>
        <p:spPr>
          <a:xfrm>
            <a:off x="7264400" y="2102247"/>
            <a:ext cx="9144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FCBF1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</a:t>
            </a:r>
            <a:endParaRPr kumimoji="0" lang="fr-MA" sz="3600" b="1" i="0" u="none" strike="noStrike" kern="1200" cap="none" spc="0" normalizeH="0" baseline="0" noProof="0" dirty="0">
              <a:ln>
                <a:noFill/>
              </a:ln>
              <a:solidFill>
                <a:srgbClr val="FCBF1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B55E736C-F490-2EF9-2BD4-B1E6C0ACC055}"/>
              </a:ext>
            </a:extLst>
          </p:cNvPr>
          <p:cNvSpPr txBox="1"/>
          <p:nvPr/>
        </p:nvSpPr>
        <p:spPr>
          <a:xfrm>
            <a:off x="2285747" y="5073967"/>
            <a:ext cx="4642105" cy="41043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667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المرحلة 1</a:t>
            </a:r>
            <a:endParaRPr kumimoji="0" lang="fr-MA" sz="2667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15" name="Picture 2" descr="الصفحة الرئيسية">
            <a:extLst>
              <a:ext uri="{FF2B5EF4-FFF2-40B4-BE49-F238E27FC236}">
                <a16:creationId xmlns:a16="http://schemas.microsoft.com/office/drawing/2014/main" id="{0CE446C7-1A2A-1B03-369C-CD46307E55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3953" y="270881"/>
            <a:ext cx="4642105" cy="703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3">
            <a:extLst>
              <a:ext uri="{FF2B5EF4-FFF2-40B4-BE49-F238E27FC236}">
                <a16:creationId xmlns:a16="http://schemas.microsoft.com/office/drawing/2014/main" id="{4A815909-2A4C-1178-F971-508B932A2579}"/>
              </a:ext>
            </a:extLst>
          </p:cNvPr>
          <p:cNvSpPr txBox="1"/>
          <p:nvPr/>
        </p:nvSpPr>
        <p:spPr>
          <a:xfrm>
            <a:off x="2068302" y="1852212"/>
            <a:ext cx="4642105" cy="6987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524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6000" b="1" i="0" u="none" strike="noStrike" kern="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الرياضيات</a:t>
            </a:r>
            <a:endParaRPr kumimoji="0" lang="en-US" sz="6000" b="1" i="0" u="none" strike="noStrike" kern="0" cap="none" spc="0" normalizeH="0" baseline="0" noProof="0" dirty="0">
              <a:ln>
                <a:noFill/>
              </a:ln>
              <a:solidFill>
                <a:srgbClr val="4BACC6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7" name="ZoneTexte 4">
            <a:extLst>
              <a:ext uri="{FF2B5EF4-FFF2-40B4-BE49-F238E27FC236}">
                <a16:creationId xmlns:a16="http://schemas.microsoft.com/office/drawing/2014/main" id="{8F9B8CD2-6BCC-6294-7C9D-65F6E1545EFB}"/>
              </a:ext>
            </a:extLst>
          </p:cNvPr>
          <p:cNvSpPr txBox="1"/>
          <p:nvPr/>
        </p:nvSpPr>
        <p:spPr>
          <a:xfrm>
            <a:off x="2631441" y="6092366"/>
            <a:ext cx="4023359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333" b="1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نسخة تجريبية موجهة لمؤسسات الريادة</a:t>
            </a:r>
          </a:p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333" b="1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نسخة قيد التطوير</a:t>
            </a:r>
          </a:p>
        </p:txBody>
      </p:sp>
      <p:sp>
        <p:nvSpPr>
          <p:cNvPr id="19" name="TextBox 2">
            <a:extLst>
              <a:ext uri="{FF2B5EF4-FFF2-40B4-BE49-F238E27FC236}">
                <a16:creationId xmlns:a16="http://schemas.microsoft.com/office/drawing/2014/main" id="{01830A1B-7C91-19D3-13F4-8B743F4BB460}"/>
              </a:ext>
            </a:extLst>
          </p:cNvPr>
          <p:cNvSpPr txBox="1"/>
          <p:nvPr/>
        </p:nvSpPr>
        <p:spPr>
          <a:xfrm>
            <a:off x="466622" y="3075370"/>
            <a:ext cx="7992888" cy="51200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1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ar-MA" sz="2667" b="1" kern="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تفكيك العددين 4 و5.</a:t>
            </a:r>
            <a:endParaRPr kumimoji="0" lang="fr-FR" sz="2665" b="1" i="0" u="none" strike="noStrike" kern="0" cap="none" spc="0" normalizeH="0" baseline="0" noProof="0" dirty="0">
              <a:ln>
                <a:noFill/>
              </a:ln>
              <a:solidFill>
                <a:srgbClr val="106585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21" name="Groupe 3">
            <a:extLst>
              <a:ext uri="{FF2B5EF4-FFF2-40B4-BE49-F238E27FC236}">
                <a16:creationId xmlns:a16="http://schemas.microsoft.com/office/drawing/2014/main" id="{5EA82A9E-D928-9705-D35C-3296917CBBE6}"/>
              </a:ext>
            </a:extLst>
          </p:cNvPr>
          <p:cNvGrpSpPr/>
          <p:nvPr/>
        </p:nvGrpSpPr>
        <p:grpSpPr>
          <a:xfrm>
            <a:off x="3108111" y="4517342"/>
            <a:ext cx="2927777" cy="1417690"/>
            <a:chOff x="3093034" y="4654860"/>
            <a:chExt cx="2927777" cy="1417690"/>
          </a:xfrm>
        </p:grpSpPr>
        <p:grpSp>
          <p:nvGrpSpPr>
            <p:cNvPr id="22" name="Groupe 101">
              <a:extLst>
                <a:ext uri="{FF2B5EF4-FFF2-40B4-BE49-F238E27FC236}">
                  <a16:creationId xmlns:a16="http://schemas.microsoft.com/office/drawing/2014/main" id="{7F7EB676-0CAA-AA6D-EC0C-4E073D1CA9D3}"/>
                </a:ext>
              </a:extLst>
            </p:cNvPr>
            <p:cNvGrpSpPr/>
            <p:nvPr/>
          </p:nvGrpSpPr>
          <p:grpSpPr>
            <a:xfrm flipH="1">
              <a:off x="3123190" y="4654860"/>
              <a:ext cx="2897621" cy="1417690"/>
              <a:chOff x="2090564" y="4775947"/>
              <a:chExt cx="3201302" cy="1417690"/>
            </a:xfrm>
          </p:grpSpPr>
          <p:sp>
            <p:nvSpPr>
              <p:cNvPr id="25" name="Forme libre : forme 100">
                <a:extLst>
                  <a:ext uri="{FF2B5EF4-FFF2-40B4-BE49-F238E27FC236}">
                    <a16:creationId xmlns:a16="http://schemas.microsoft.com/office/drawing/2014/main" id="{EE0FA989-1A68-F9C3-82C4-BC6BAEB5A70B}"/>
                  </a:ext>
                </a:extLst>
              </p:cNvPr>
              <p:cNvSpPr/>
              <p:nvPr/>
            </p:nvSpPr>
            <p:spPr>
              <a:xfrm rot="21338648" flipV="1">
                <a:off x="2778467" y="5313022"/>
                <a:ext cx="2513399" cy="880615"/>
              </a:xfrm>
              <a:custGeom>
                <a:avLst/>
                <a:gdLst>
                  <a:gd name="connsiteX0" fmla="*/ 138545 w 2969491"/>
                  <a:gd name="connsiteY0" fmla="*/ 124691 h 651164"/>
                  <a:gd name="connsiteX1" fmla="*/ 2706255 w 2969491"/>
                  <a:gd name="connsiteY1" fmla="*/ 0 h 651164"/>
                  <a:gd name="connsiteX2" fmla="*/ 2890982 w 2969491"/>
                  <a:gd name="connsiteY2" fmla="*/ 78509 h 651164"/>
                  <a:gd name="connsiteX3" fmla="*/ 2969491 w 2969491"/>
                  <a:gd name="connsiteY3" fmla="*/ 258618 h 651164"/>
                  <a:gd name="connsiteX4" fmla="*/ 2872509 w 2969491"/>
                  <a:gd name="connsiteY4" fmla="*/ 378691 h 651164"/>
                  <a:gd name="connsiteX5" fmla="*/ 170873 w 2969491"/>
                  <a:gd name="connsiteY5" fmla="*/ 651164 h 651164"/>
                  <a:gd name="connsiteX6" fmla="*/ 9236 w 2969491"/>
                  <a:gd name="connsiteY6" fmla="*/ 531091 h 651164"/>
                  <a:gd name="connsiteX7" fmla="*/ 0 w 2969491"/>
                  <a:gd name="connsiteY7" fmla="*/ 207818 h 651164"/>
                  <a:gd name="connsiteX8" fmla="*/ 138545 w 2969491"/>
                  <a:gd name="connsiteY8" fmla="*/ 124691 h 651164"/>
                  <a:gd name="connsiteX0" fmla="*/ 138545 w 2969491"/>
                  <a:gd name="connsiteY0" fmla="*/ 124691 h 651164"/>
                  <a:gd name="connsiteX1" fmla="*/ 2706255 w 2969491"/>
                  <a:gd name="connsiteY1" fmla="*/ 0 h 651164"/>
                  <a:gd name="connsiteX2" fmla="*/ 2890982 w 2969491"/>
                  <a:gd name="connsiteY2" fmla="*/ 78509 h 651164"/>
                  <a:gd name="connsiteX3" fmla="*/ 2969491 w 2969491"/>
                  <a:gd name="connsiteY3" fmla="*/ 258618 h 651164"/>
                  <a:gd name="connsiteX4" fmla="*/ 2872509 w 2969491"/>
                  <a:gd name="connsiteY4" fmla="*/ 378691 h 651164"/>
                  <a:gd name="connsiteX5" fmla="*/ 170873 w 2969491"/>
                  <a:gd name="connsiteY5" fmla="*/ 651164 h 651164"/>
                  <a:gd name="connsiteX6" fmla="*/ 9236 w 2969491"/>
                  <a:gd name="connsiteY6" fmla="*/ 531091 h 651164"/>
                  <a:gd name="connsiteX7" fmla="*/ 0 w 2969491"/>
                  <a:gd name="connsiteY7" fmla="*/ 207818 h 651164"/>
                  <a:gd name="connsiteX8" fmla="*/ 138545 w 2969491"/>
                  <a:gd name="connsiteY8" fmla="*/ 124691 h 651164"/>
                  <a:gd name="connsiteX0" fmla="*/ 138545 w 2969491"/>
                  <a:gd name="connsiteY0" fmla="*/ 124691 h 651164"/>
                  <a:gd name="connsiteX1" fmla="*/ 2706255 w 2969491"/>
                  <a:gd name="connsiteY1" fmla="*/ 0 h 651164"/>
                  <a:gd name="connsiteX2" fmla="*/ 2890982 w 2969491"/>
                  <a:gd name="connsiteY2" fmla="*/ 78509 h 651164"/>
                  <a:gd name="connsiteX3" fmla="*/ 2969491 w 2969491"/>
                  <a:gd name="connsiteY3" fmla="*/ 258618 h 651164"/>
                  <a:gd name="connsiteX4" fmla="*/ 2872509 w 2969491"/>
                  <a:gd name="connsiteY4" fmla="*/ 378691 h 651164"/>
                  <a:gd name="connsiteX5" fmla="*/ 170873 w 2969491"/>
                  <a:gd name="connsiteY5" fmla="*/ 651164 h 651164"/>
                  <a:gd name="connsiteX6" fmla="*/ 9236 w 2969491"/>
                  <a:gd name="connsiteY6" fmla="*/ 531091 h 651164"/>
                  <a:gd name="connsiteX7" fmla="*/ 0 w 2969491"/>
                  <a:gd name="connsiteY7" fmla="*/ 207818 h 651164"/>
                  <a:gd name="connsiteX8" fmla="*/ 138545 w 2969491"/>
                  <a:gd name="connsiteY8" fmla="*/ 124691 h 651164"/>
                  <a:gd name="connsiteX0" fmla="*/ 138545 w 2969491"/>
                  <a:gd name="connsiteY0" fmla="*/ 124691 h 651164"/>
                  <a:gd name="connsiteX1" fmla="*/ 2706255 w 2969491"/>
                  <a:gd name="connsiteY1" fmla="*/ 0 h 651164"/>
                  <a:gd name="connsiteX2" fmla="*/ 2890982 w 2969491"/>
                  <a:gd name="connsiteY2" fmla="*/ 78509 h 651164"/>
                  <a:gd name="connsiteX3" fmla="*/ 2969491 w 2969491"/>
                  <a:gd name="connsiteY3" fmla="*/ 258618 h 651164"/>
                  <a:gd name="connsiteX4" fmla="*/ 2872509 w 2969491"/>
                  <a:gd name="connsiteY4" fmla="*/ 378691 h 651164"/>
                  <a:gd name="connsiteX5" fmla="*/ 170873 w 2969491"/>
                  <a:gd name="connsiteY5" fmla="*/ 651164 h 651164"/>
                  <a:gd name="connsiteX6" fmla="*/ 9236 w 2969491"/>
                  <a:gd name="connsiteY6" fmla="*/ 531091 h 651164"/>
                  <a:gd name="connsiteX7" fmla="*/ 0 w 2969491"/>
                  <a:gd name="connsiteY7" fmla="*/ 207818 h 651164"/>
                  <a:gd name="connsiteX8" fmla="*/ 138545 w 2969491"/>
                  <a:gd name="connsiteY8" fmla="*/ 124691 h 651164"/>
                  <a:gd name="connsiteX0" fmla="*/ 138545 w 2969491"/>
                  <a:gd name="connsiteY0" fmla="*/ 124691 h 656902"/>
                  <a:gd name="connsiteX1" fmla="*/ 2706255 w 2969491"/>
                  <a:gd name="connsiteY1" fmla="*/ 0 h 656902"/>
                  <a:gd name="connsiteX2" fmla="*/ 2890982 w 2969491"/>
                  <a:gd name="connsiteY2" fmla="*/ 78509 h 656902"/>
                  <a:gd name="connsiteX3" fmla="*/ 2969491 w 2969491"/>
                  <a:gd name="connsiteY3" fmla="*/ 258618 h 656902"/>
                  <a:gd name="connsiteX4" fmla="*/ 2872509 w 2969491"/>
                  <a:gd name="connsiteY4" fmla="*/ 378691 h 656902"/>
                  <a:gd name="connsiteX5" fmla="*/ 170873 w 2969491"/>
                  <a:gd name="connsiteY5" fmla="*/ 651164 h 656902"/>
                  <a:gd name="connsiteX6" fmla="*/ 9236 w 2969491"/>
                  <a:gd name="connsiteY6" fmla="*/ 531091 h 656902"/>
                  <a:gd name="connsiteX7" fmla="*/ 0 w 2969491"/>
                  <a:gd name="connsiteY7" fmla="*/ 207818 h 656902"/>
                  <a:gd name="connsiteX8" fmla="*/ 138545 w 2969491"/>
                  <a:gd name="connsiteY8" fmla="*/ 124691 h 656902"/>
                  <a:gd name="connsiteX0" fmla="*/ 138545 w 2969491"/>
                  <a:gd name="connsiteY0" fmla="*/ 124890 h 657101"/>
                  <a:gd name="connsiteX1" fmla="*/ 2706255 w 2969491"/>
                  <a:gd name="connsiteY1" fmla="*/ 199 h 657101"/>
                  <a:gd name="connsiteX2" fmla="*/ 2890982 w 2969491"/>
                  <a:gd name="connsiteY2" fmla="*/ 78708 h 657101"/>
                  <a:gd name="connsiteX3" fmla="*/ 2969491 w 2969491"/>
                  <a:gd name="connsiteY3" fmla="*/ 258817 h 657101"/>
                  <a:gd name="connsiteX4" fmla="*/ 2872509 w 2969491"/>
                  <a:gd name="connsiteY4" fmla="*/ 378890 h 657101"/>
                  <a:gd name="connsiteX5" fmla="*/ 170873 w 2969491"/>
                  <a:gd name="connsiteY5" fmla="*/ 651363 h 657101"/>
                  <a:gd name="connsiteX6" fmla="*/ 9236 w 2969491"/>
                  <a:gd name="connsiteY6" fmla="*/ 531290 h 657101"/>
                  <a:gd name="connsiteX7" fmla="*/ 0 w 2969491"/>
                  <a:gd name="connsiteY7" fmla="*/ 208017 h 657101"/>
                  <a:gd name="connsiteX8" fmla="*/ 138545 w 2969491"/>
                  <a:gd name="connsiteY8" fmla="*/ 124890 h 657101"/>
                  <a:gd name="connsiteX0" fmla="*/ 138545 w 2969491"/>
                  <a:gd name="connsiteY0" fmla="*/ 125008 h 657219"/>
                  <a:gd name="connsiteX1" fmla="*/ 2706255 w 2969491"/>
                  <a:gd name="connsiteY1" fmla="*/ 317 h 657219"/>
                  <a:gd name="connsiteX2" fmla="*/ 2890982 w 2969491"/>
                  <a:gd name="connsiteY2" fmla="*/ 78826 h 657219"/>
                  <a:gd name="connsiteX3" fmla="*/ 2969491 w 2969491"/>
                  <a:gd name="connsiteY3" fmla="*/ 258935 h 657219"/>
                  <a:gd name="connsiteX4" fmla="*/ 2872509 w 2969491"/>
                  <a:gd name="connsiteY4" fmla="*/ 379008 h 657219"/>
                  <a:gd name="connsiteX5" fmla="*/ 170873 w 2969491"/>
                  <a:gd name="connsiteY5" fmla="*/ 651481 h 657219"/>
                  <a:gd name="connsiteX6" fmla="*/ 9236 w 2969491"/>
                  <a:gd name="connsiteY6" fmla="*/ 531408 h 657219"/>
                  <a:gd name="connsiteX7" fmla="*/ 0 w 2969491"/>
                  <a:gd name="connsiteY7" fmla="*/ 208135 h 657219"/>
                  <a:gd name="connsiteX8" fmla="*/ 138545 w 2969491"/>
                  <a:gd name="connsiteY8" fmla="*/ 125008 h 657219"/>
                  <a:gd name="connsiteX0" fmla="*/ 138545 w 2972005"/>
                  <a:gd name="connsiteY0" fmla="*/ 125008 h 657219"/>
                  <a:gd name="connsiteX1" fmla="*/ 2706255 w 2972005"/>
                  <a:gd name="connsiteY1" fmla="*/ 317 h 657219"/>
                  <a:gd name="connsiteX2" fmla="*/ 2890982 w 2972005"/>
                  <a:gd name="connsiteY2" fmla="*/ 78826 h 657219"/>
                  <a:gd name="connsiteX3" fmla="*/ 2969491 w 2972005"/>
                  <a:gd name="connsiteY3" fmla="*/ 258935 h 657219"/>
                  <a:gd name="connsiteX4" fmla="*/ 2872509 w 2972005"/>
                  <a:gd name="connsiteY4" fmla="*/ 379008 h 657219"/>
                  <a:gd name="connsiteX5" fmla="*/ 170873 w 2972005"/>
                  <a:gd name="connsiteY5" fmla="*/ 651481 h 657219"/>
                  <a:gd name="connsiteX6" fmla="*/ 9236 w 2972005"/>
                  <a:gd name="connsiteY6" fmla="*/ 531408 h 657219"/>
                  <a:gd name="connsiteX7" fmla="*/ 0 w 2972005"/>
                  <a:gd name="connsiteY7" fmla="*/ 208135 h 657219"/>
                  <a:gd name="connsiteX8" fmla="*/ 138545 w 2972005"/>
                  <a:gd name="connsiteY8" fmla="*/ 125008 h 657219"/>
                  <a:gd name="connsiteX0" fmla="*/ 138545 w 2973912"/>
                  <a:gd name="connsiteY0" fmla="*/ 125008 h 657219"/>
                  <a:gd name="connsiteX1" fmla="*/ 2706255 w 2973912"/>
                  <a:gd name="connsiteY1" fmla="*/ 317 h 657219"/>
                  <a:gd name="connsiteX2" fmla="*/ 2890982 w 2973912"/>
                  <a:gd name="connsiteY2" fmla="*/ 78826 h 657219"/>
                  <a:gd name="connsiteX3" fmla="*/ 2969491 w 2973912"/>
                  <a:gd name="connsiteY3" fmla="*/ 258935 h 657219"/>
                  <a:gd name="connsiteX4" fmla="*/ 2872509 w 2973912"/>
                  <a:gd name="connsiteY4" fmla="*/ 379008 h 657219"/>
                  <a:gd name="connsiteX5" fmla="*/ 170873 w 2973912"/>
                  <a:gd name="connsiteY5" fmla="*/ 651481 h 657219"/>
                  <a:gd name="connsiteX6" fmla="*/ 9236 w 2973912"/>
                  <a:gd name="connsiteY6" fmla="*/ 531408 h 657219"/>
                  <a:gd name="connsiteX7" fmla="*/ 0 w 2973912"/>
                  <a:gd name="connsiteY7" fmla="*/ 208135 h 657219"/>
                  <a:gd name="connsiteX8" fmla="*/ 138545 w 2973912"/>
                  <a:gd name="connsiteY8" fmla="*/ 125008 h 657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73912" h="657219">
                    <a:moveTo>
                      <a:pt x="138545" y="125008"/>
                    </a:moveTo>
                    <a:lnTo>
                      <a:pt x="2706255" y="317"/>
                    </a:lnTo>
                    <a:cubicBezTo>
                      <a:pt x="2828121" y="-3658"/>
                      <a:pt x="2867087" y="30047"/>
                      <a:pt x="2890982" y="78826"/>
                    </a:cubicBezTo>
                    <a:lnTo>
                      <a:pt x="2969491" y="258935"/>
                    </a:lnTo>
                    <a:cubicBezTo>
                      <a:pt x="2987406" y="336640"/>
                      <a:pt x="2950053" y="379178"/>
                      <a:pt x="2872509" y="379008"/>
                    </a:cubicBezTo>
                    <a:lnTo>
                      <a:pt x="170873" y="651481"/>
                    </a:lnTo>
                    <a:cubicBezTo>
                      <a:pt x="101922" y="666723"/>
                      <a:pt x="5337" y="659356"/>
                      <a:pt x="9236" y="531408"/>
                    </a:cubicBezTo>
                    <a:lnTo>
                      <a:pt x="0" y="208135"/>
                    </a:lnTo>
                    <a:cubicBezTo>
                      <a:pt x="26085" y="152793"/>
                      <a:pt x="37097" y="137645"/>
                      <a:pt x="138545" y="125008"/>
                    </a:cubicBezTo>
                    <a:close/>
                  </a:path>
                </a:pathLst>
              </a:custGeom>
              <a:solidFill>
                <a:srgbClr val="70B1B6"/>
              </a:solidFill>
              <a:ln w="1365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Forme libre : forme 99">
                <a:extLst>
                  <a:ext uri="{FF2B5EF4-FFF2-40B4-BE49-F238E27FC236}">
                    <a16:creationId xmlns:a16="http://schemas.microsoft.com/office/drawing/2014/main" id="{02C73B46-B178-E9D0-1D59-8BF7EFCE5B78}"/>
                  </a:ext>
                </a:extLst>
              </p:cNvPr>
              <p:cNvSpPr/>
              <p:nvPr/>
            </p:nvSpPr>
            <p:spPr>
              <a:xfrm rot="261352" flipH="1" flipV="1">
                <a:off x="2090564" y="4775947"/>
                <a:ext cx="2707398" cy="880615"/>
              </a:xfrm>
              <a:custGeom>
                <a:avLst/>
                <a:gdLst>
                  <a:gd name="connsiteX0" fmla="*/ 138545 w 2969491"/>
                  <a:gd name="connsiteY0" fmla="*/ 124691 h 651164"/>
                  <a:gd name="connsiteX1" fmla="*/ 2706255 w 2969491"/>
                  <a:gd name="connsiteY1" fmla="*/ 0 h 651164"/>
                  <a:gd name="connsiteX2" fmla="*/ 2890982 w 2969491"/>
                  <a:gd name="connsiteY2" fmla="*/ 78509 h 651164"/>
                  <a:gd name="connsiteX3" fmla="*/ 2969491 w 2969491"/>
                  <a:gd name="connsiteY3" fmla="*/ 258618 h 651164"/>
                  <a:gd name="connsiteX4" fmla="*/ 2872509 w 2969491"/>
                  <a:gd name="connsiteY4" fmla="*/ 378691 h 651164"/>
                  <a:gd name="connsiteX5" fmla="*/ 170873 w 2969491"/>
                  <a:gd name="connsiteY5" fmla="*/ 651164 h 651164"/>
                  <a:gd name="connsiteX6" fmla="*/ 9236 w 2969491"/>
                  <a:gd name="connsiteY6" fmla="*/ 531091 h 651164"/>
                  <a:gd name="connsiteX7" fmla="*/ 0 w 2969491"/>
                  <a:gd name="connsiteY7" fmla="*/ 207818 h 651164"/>
                  <a:gd name="connsiteX8" fmla="*/ 138545 w 2969491"/>
                  <a:gd name="connsiteY8" fmla="*/ 124691 h 651164"/>
                  <a:gd name="connsiteX0" fmla="*/ 138545 w 2969491"/>
                  <a:gd name="connsiteY0" fmla="*/ 124691 h 651164"/>
                  <a:gd name="connsiteX1" fmla="*/ 2706255 w 2969491"/>
                  <a:gd name="connsiteY1" fmla="*/ 0 h 651164"/>
                  <a:gd name="connsiteX2" fmla="*/ 2890982 w 2969491"/>
                  <a:gd name="connsiteY2" fmla="*/ 78509 h 651164"/>
                  <a:gd name="connsiteX3" fmla="*/ 2969491 w 2969491"/>
                  <a:gd name="connsiteY3" fmla="*/ 258618 h 651164"/>
                  <a:gd name="connsiteX4" fmla="*/ 2872509 w 2969491"/>
                  <a:gd name="connsiteY4" fmla="*/ 378691 h 651164"/>
                  <a:gd name="connsiteX5" fmla="*/ 170873 w 2969491"/>
                  <a:gd name="connsiteY5" fmla="*/ 651164 h 651164"/>
                  <a:gd name="connsiteX6" fmla="*/ 9236 w 2969491"/>
                  <a:gd name="connsiteY6" fmla="*/ 531091 h 651164"/>
                  <a:gd name="connsiteX7" fmla="*/ 0 w 2969491"/>
                  <a:gd name="connsiteY7" fmla="*/ 207818 h 651164"/>
                  <a:gd name="connsiteX8" fmla="*/ 138545 w 2969491"/>
                  <a:gd name="connsiteY8" fmla="*/ 124691 h 651164"/>
                  <a:gd name="connsiteX0" fmla="*/ 138545 w 2969491"/>
                  <a:gd name="connsiteY0" fmla="*/ 124691 h 651164"/>
                  <a:gd name="connsiteX1" fmla="*/ 2706255 w 2969491"/>
                  <a:gd name="connsiteY1" fmla="*/ 0 h 651164"/>
                  <a:gd name="connsiteX2" fmla="*/ 2890982 w 2969491"/>
                  <a:gd name="connsiteY2" fmla="*/ 78509 h 651164"/>
                  <a:gd name="connsiteX3" fmla="*/ 2969491 w 2969491"/>
                  <a:gd name="connsiteY3" fmla="*/ 258618 h 651164"/>
                  <a:gd name="connsiteX4" fmla="*/ 2872509 w 2969491"/>
                  <a:gd name="connsiteY4" fmla="*/ 378691 h 651164"/>
                  <a:gd name="connsiteX5" fmla="*/ 170873 w 2969491"/>
                  <a:gd name="connsiteY5" fmla="*/ 651164 h 651164"/>
                  <a:gd name="connsiteX6" fmla="*/ 9236 w 2969491"/>
                  <a:gd name="connsiteY6" fmla="*/ 531091 h 651164"/>
                  <a:gd name="connsiteX7" fmla="*/ 0 w 2969491"/>
                  <a:gd name="connsiteY7" fmla="*/ 207818 h 651164"/>
                  <a:gd name="connsiteX8" fmla="*/ 138545 w 2969491"/>
                  <a:gd name="connsiteY8" fmla="*/ 124691 h 651164"/>
                  <a:gd name="connsiteX0" fmla="*/ 138545 w 2969491"/>
                  <a:gd name="connsiteY0" fmla="*/ 124691 h 651164"/>
                  <a:gd name="connsiteX1" fmla="*/ 2706255 w 2969491"/>
                  <a:gd name="connsiteY1" fmla="*/ 0 h 651164"/>
                  <a:gd name="connsiteX2" fmla="*/ 2890982 w 2969491"/>
                  <a:gd name="connsiteY2" fmla="*/ 78509 h 651164"/>
                  <a:gd name="connsiteX3" fmla="*/ 2969491 w 2969491"/>
                  <a:gd name="connsiteY3" fmla="*/ 258618 h 651164"/>
                  <a:gd name="connsiteX4" fmla="*/ 2872509 w 2969491"/>
                  <a:gd name="connsiteY4" fmla="*/ 378691 h 651164"/>
                  <a:gd name="connsiteX5" fmla="*/ 170873 w 2969491"/>
                  <a:gd name="connsiteY5" fmla="*/ 651164 h 651164"/>
                  <a:gd name="connsiteX6" fmla="*/ 9236 w 2969491"/>
                  <a:gd name="connsiteY6" fmla="*/ 531091 h 651164"/>
                  <a:gd name="connsiteX7" fmla="*/ 0 w 2969491"/>
                  <a:gd name="connsiteY7" fmla="*/ 207818 h 651164"/>
                  <a:gd name="connsiteX8" fmla="*/ 138545 w 2969491"/>
                  <a:gd name="connsiteY8" fmla="*/ 124691 h 651164"/>
                  <a:gd name="connsiteX0" fmla="*/ 138545 w 2969491"/>
                  <a:gd name="connsiteY0" fmla="*/ 124691 h 656902"/>
                  <a:gd name="connsiteX1" fmla="*/ 2706255 w 2969491"/>
                  <a:gd name="connsiteY1" fmla="*/ 0 h 656902"/>
                  <a:gd name="connsiteX2" fmla="*/ 2890982 w 2969491"/>
                  <a:gd name="connsiteY2" fmla="*/ 78509 h 656902"/>
                  <a:gd name="connsiteX3" fmla="*/ 2969491 w 2969491"/>
                  <a:gd name="connsiteY3" fmla="*/ 258618 h 656902"/>
                  <a:gd name="connsiteX4" fmla="*/ 2872509 w 2969491"/>
                  <a:gd name="connsiteY4" fmla="*/ 378691 h 656902"/>
                  <a:gd name="connsiteX5" fmla="*/ 170873 w 2969491"/>
                  <a:gd name="connsiteY5" fmla="*/ 651164 h 656902"/>
                  <a:gd name="connsiteX6" fmla="*/ 9236 w 2969491"/>
                  <a:gd name="connsiteY6" fmla="*/ 531091 h 656902"/>
                  <a:gd name="connsiteX7" fmla="*/ 0 w 2969491"/>
                  <a:gd name="connsiteY7" fmla="*/ 207818 h 656902"/>
                  <a:gd name="connsiteX8" fmla="*/ 138545 w 2969491"/>
                  <a:gd name="connsiteY8" fmla="*/ 124691 h 656902"/>
                  <a:gd name="connsiteX0" fmla="*/ 138545 w 2969491"/>
                  <a:gd name="connsiteY0" fmla="*/ 124890 h 657101"/>
                  <a:gd name="connsiteX1" fmla="*/ 2706255 w 2969491"/>
                  <a:gd name="connsiteY1" fmla="*/ 199 h 657101"/>
                  <a:gd name="connsiteX2" fmla="*/ 2890982 w 2969491"/>
                  <a:gd name="connsiteY2" fmla="*/ 78708 h 657101"/>
                  <a:gd name="connsiteX3" fmla="*/ 2969491 w 2969491"/>
                  <a:gd name="connsiteY3" fmla="*/ 258817 h 657101"/>
                  <a:gd name="connsiteX4" fmla="*/ 2872509 w 2969491"/>
                  <a:gd name="connsiteY4" fmla="*/ 378890 h 657101"/>
                  <a:gd name="connsiteX5" fmla="*/ 170873 w 2969491"/>
                  <a:gd name="connsiteY5" fmla="*/ 651363 h 657101"/>
                  <a:gd name="connsiteX6" fmla="*/ 9236 w 2969491"/>
                  <a:gd name="connsiteY6" fmla="*/ 531290 h 657101"/>
                  <a:gd name="connsiteX7" fmla="*/ 0 w 2969491"/>
                  <a:gd name="connsiteY7" fmla="*/ 208017 h 657101"/>
                  <a:gd name="connsiteX8" fmla="*/ 138545 w 2969491"/>
                  <a:gd name="connsiteY8" fmla="*/ 124890 h 657101"/>
                  <a:gd name="connsiteX0" fmla="*/ 138545 w 2969491"/>
                  <a:gd name="connsiteY0" fmla="*/ 125008 h 657219"/>
                  <a:gd name="connsiteX1" fmla="*/ 2706255 w 2969491"/>
                  <a:gd name="connsiteY1" fmla="*/ 317 h 657219"/>
                  <a:gd name="connsiteX2" fmla="*/ 2890982 w 2969491"/>
                  <a:gd name="connsiteY2" fmla="*/ 78826 h 657219"/>
                  <a:gd name="connsiteX3" fmla="*/ 2969491 w 2969491"/>
                  <a:gd name="connsiteY3" fmla="*/ 258935 h 657219"/>
                  <a:gd name="connsiteX4" fmla="*/ 2872509 w 2969491"/>
                  <a:gd name="connsiteY4" fmla="*/ 379008 h 657219"/>
                  <a:gd name="connsiteX5" fmla="*/ 170873 w 2969491"/>
                  <a:gd name="connsiteY5" fmla="*/ 651481 h 657219"/>
                  <a:gd name="connsiteX6" fmla="*/ 9236 w 2969491"/>
                  <a:gd name="connsiteY6" fmla="*/ 531408 h 657219"/>
                  <a:gd name="connsiteX7" fmla="*/ 0 w 2969491"/>
                  <a:gd name="connsiteY7" fmla="*/ 208135 h 657219"/>
                  <a:gd name="connsiteX8" fmla="*/ 138545 w 2969491"/>
                  <a:gd name="connsiteY8" fmla="*/ 125008 h 657219"/>
                  <a:gd name="connsiteX0" fmla="*/ 138545 w 2972005"/>
                  <a:gd name="connsiteY0" fmla="*/ 125008 h 657219"/>
                  <a:gd name="connsiteX1" fmla="*/ 2706255 w 2972005"/>
                  <a:gd name="connsiteY1" fmla="*/ 317 h 657219"/>
                  <a:gd name="connsiteX2" fmla="*/ 2890982 w 2972005"/>
                  <a:gd name="connsiteY2" fmla="*/ 78826 h 657219"/>
                  <a:gd name="connsiteX3" fmla="*/ 2969491 w 2972005"/>
                  <a:gd name="connsiteY3" fmla="*/ 258935 h 657219"/>
                  <a:gd name="connsiteX4" fmla="*/ 2872509 w 2972005"/>
                  <a:gd name="connsiteY4" fmla="*/ 379008 h 657219"/>
                  <a:gd name="connsiteX5" fmla="*/ 170873 w 2972005"/>
                  <a:gd name="connsiteY5" fmla="*/ 651481 h 657219"/>
                  <a:gd name="connsiteX6" fmla="*/ 9236 w 2972005"/>
                  <a:gd name="connsiteY6" fmla="*/ 531408 h 657219"/>
                  <a:gd name="connsiteX7" fmla="*/ 0 w 2972005"/>
                  <a:gd name="connsiteY7" fmla="*/ 208135 h 657219"/>
                  <a:gd name="connsiteX8" fmla="*/ 138545 w 2972005"/>
                  <a:gd name="connsiteY8" fmla="*/ 125008 h 657219"/>
                  <a:gd name="connsiteX0" fmla="*/ 138545 w 2973912"/>
                  <a:gd name="connsiteY0" fmla="*/ 125008 h 657219"/>
                  <a:gd name="connsiteX1" fmla="*/ 2706255 w 2973912"/>
                  <a:gd name="connsiteY1" fmla="*/ 317 h 657219"/>
                  <a:gd name="connsiteX2" fmla="*/ 2890982 w 2973912"/>
                  <a:gd name="connsiteY2" fmla="*/ 78826 h 657219"/>
                  <a:gd name="connsiteX3" fmla="*/ 2969491 w 2973912"/>
                  <a:gd name="connsiteY3" fmla="*/ 258935 h 657219"/>
                  <a:gd name="connsiteX4" fmla="*/ 2872509 w 2973912"/>
                  <a:gd name="connsiteY4" fmla="*/ 379008 h 657219"/>
                  <a:gd name="connsiteX5" fmla="*/ 170873 w 2973912"/>
                  <a:gd name="connsiteY5" fmla="*/ 651481 h 657219"/>
                  <a:gd name="connsiteX6" fmla="*/ 9236 w 2973912"/>
                  <a:gd name="connsiteY6" fmla="*/ 531408 h 657219"/>
                  <a:gd name="connsiteX7" fmla="*/ 0 w 2973912"/>
                  <a:gd name="connsiteY7" fmla="*/ 208135 h 657219"/>
                  <a:gd name="connsiteX8" fmla="*/ 138545 w 2973912"/>
                  <a:gd name="connsiteY8" fmla="*/ 125008 h 657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73912" h="657219">
                    <a:moveTo>
                      <a:pt x="138545" y="125008"/>
                    </a:moveTo>
                    <a:lnTo>
                      <a:pt x="2706255" y="317"/>
                    </a:lnTo>
                    <a:cubicBezTo>
                      <a:pt x="2828121" y="-3658"/>
                      <a:pt x="2867087" y="30047"/>
                      <a:pt x="2890982" y="78826"/>
                    </a:cubicBezTo>
                    <a:lnTo>
                      <a:pt x="2969491" y="258935"/>
                    </a:lnTo>
                    <a:cubicBezTo>
                      <a:pt x="2987406" y="336640"/>
                      <a:pt x="2950053" y="379178"/>
                      <a:pt x="2872509" y="379008"/>
                    </a:cubicBezTo>
                    <a:lnTo>
                      <a:pt x="170873" y="651481"/>
                    </a:lnTo>
                    <a:cubicBezTo>
                      <a:pt x="101922" y="666723"/>
                      <a:pt x="5337" y="659356"/>
                      <a:pt x="9236" y="531408"/>
                    </a:cubicBezTo>
                    <a:lnTo>
                      <a:pt x="0" y="208135"/>
                    </a:lnTo>
                    <a:cubicBezTo>
                      <a:pt x="26085" y="152793"/>
                      <a:pt x="37097" y="137645"/>
                      <a:pt x="138545" y="125008"/>
                    </a:cubicBezTo>
                    <a:close/>
                  </a:path>
                </a:pathLst>
              </a:custGeom>
              <a:solidFill>
                <a:srgbClr val="1E3F48"/>
              </a:solidFill>
              <a:ln w="1365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3" name="ZoneTexte 103">
              <a:extLst>
                <a:ext uri="{FF2B5EF4-FFF2-40B4-BE49-F238E27FC236}">
                  <a16:creationId xmlns:a16="http://schemas.microsoft.com/office/drawing/2014/main" id="{1E5400B5-7BC7-0266-FD7A-80D1F6E5B564}"/>
                </a:ext>
              </a:extLst>
            </p:cNvPr>
            <p:cNvSpPr txBox="1"/>
            <p:nvPr/>
          </p:nvSpPr>
          <p:spPr>
            <a:xfrm>
              <a:off x="3448841" y="4793730"/>
              <a:ext cx="251037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667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ال</a:t>
              </a:r>
              <a:r>
                <a:rPr lang="ar-MA" sz="2667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 pitchFamily="34" charset="0"/>
                  <a:cs typeface="Calibri" panose="020F0502020204030204" pitchFamily="34" charset="0"/>
                </a:rPr>
                <a:t>أسبـــــــــــــــــــــــــــــــــــــــــوع</a:t>
              </a:r>
              <a:r>
                <a:rPr kumimoji="0" lang="ar-MA" sz="3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 </a:t>
              </a:r>
              <a:r>
                <a:rPr lang="ar-MA" sz="2667" b="1" kern="0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24" name="ZoneTexte 104">
              <a:extLst>
                <a:ext uri="{FF2B5EF4-FFF2-40B4-BE49-F238E27FC236}">
                  <a16:creationId xmlns:a16="http://schemas.microsoft.com/office/drawing/2014/main" id="{F348931E-3B0C-075B-B62E-4475484F93BA}"/>
                </a:ext>
              </a:extLst>
            </p:cNvPr>
            <p:cNvSpPr txBox="1"/>
            <p:nvPr/>
          </p:nvSpPr>
          <p:spPr>
            <a:xfrm>
              <a:off x="3093034" y="5396701"/>
              <a:ext cx="233528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ar-MA" sz="2667" b="1" kern="0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الدرس</a:t>
              </a:r>
              <a:r>
                <a:rPr kumimoji="0" lang="ar-MA" sz="3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Microsoft Uighur" panose="02000000000000000000" pitchFamily="2" charset="-78"/>
                  <a:ea typeface="+mn-ea"/>
                  <a:cs typeface="Microsoft Uighur" panose="02000000000000000000" pitchFamily="2" charset="-78"/>
                </a:rPr>
                <a:t> </a:t>
              </a:r>
              <a:r>
                <a:rPr lang="ar-MA" sz="2667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 pitchFamily="34" charset="0"/>
                  <a:cs typeface="Calibri" panose="020F0502020204030204" pitchFamily="34" charset="0"/>
                </a:rPr>
                <a:t>الرابع</a:t>
              </a:r>
              <a:endParaRPr lang="ar-MA" sz="2667" b="1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7" name="Groupe 96">
            <a:extLst>
              <a:ext uri="{FF2B5EF4-FFF2-40B4-BE49-F238E27FC236}">
                <a16:creationId xmlns:a16="http://schemas.microsoft.com/office/drawing/2014/main" id="{94366D79-CE63-19DD-E464-6CC4DCE8E246}"/>
              </a:ext>
            </a:extLst>
          </p:cNvPr>
          <p:cNvGrpSpPr/>
          <p:nvPr/>
        </p:nvGrpSpPr>
        <p:grpSpPr>
          <a:xfrm>
            <a:off x="5842136" y="4598635"/>
            <a:ext cx="1632900" cy="1356678"/>
            <a:chOff x="7066003" y="1822095"/>
            <a:chExt cx="1632900" cy="1356678"/>
          </a:xfrm>
        </p:grpSpPr>
        <p:grpSp>
          <p:nvGrpSpPr>
            <p:cNvPr id="28" name="Groupe 74">
              <a:extLst>
                <a:ext uri="{FF2B5EF4-FFF2-40B4-BE49-F238E27FC236}">
                  <a16:creationId xmlns:a16="http://schemas.microsoft.com/office/drawing/2014/main" id="{74116ED5-EC55-CAB3-89AB-B7402A4F0FF6}"/>
                </a:ext>
              </a:extLst>
            </p:cNvPr>
            <p:cNvGrpSpPr/>
            <p:nvPr/>
          </p:nvGrpSpPr>
          <p:grpSpPr>
            <a:xfrm flipH="1">
              <a:off x="7177562" y="1822095"/>
              <a:ext cx="1394889" cy="1356678"/>
              <a:chOff x="104413" y="285342"/>
              <a:chExt cx="2111436" cy="2053595"/>
            </a:xfrm>
          </p:grpSpPr>
          <p:sp>
            <p:nvSpPr>
              <p:cNvPr id="31" name="ZoneTexte 73">
                <a:extLst>
                  <a:ext uri="{FF2B5EF4-FFF2-40B4-BE49-F238E27FC236}">
                    <a16:creationId xmlns:a16="http://schemas.microsoft.com/office/drawing/2014/main" id="{96666752-657F-F88D-8EEF-F2539DAF9BAA}"/>
                  </a:ext>
                </a:extLst>
              </p:cNvPr>
              <p:cNvSpPr txBox="1"/>
              <p:nvPr/>
            </p:nvSpPr>
            <p:spPr>
              <a:xfrm rot="19636752">
                <a:off x="104413" y="536954"/>
                <a:ext cx="2052844" cy="14442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rtl="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ar-MA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A Massir Ballpoint" panose="00000100000000000000" pitchFamily="2" charset="-78"/>
                    <a:ea typeface="+mn-ea"/>
                    <a:cs typeface="Boahmed Alhour" pitchFamily="2" charset="-78"/>
                  </a:rPr>
                  <a:t>المقاعد</a:t>
                </a:r>
              </a:p>
              <a:p>
                <a:pPr marL="0" marR="0" lvl="0" indent="0" algn="ctr" defTabSz="457200" rtl="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ar-MA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A Massir Ballpoint" panose="00000100000000000000" pitchFamily="2" charset="-78"/>
                    <a:ea typeface="+mn-ea"/>
                    <a:cs typeface="Boahmed Alhour" pitchFamily="2" charset="-78"/>
                  </a:rPr>
                  <a:t>محدودة</a:t>
                </a:r>
                <a:endParaRPr kumimoji="0" lang="ar-MA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 Massir Ballpoint" panose="00000100000000000000" pitchFamily="2" charset="-78"/>
                  <a:ea typeface="+mn-ea"/>
                  <a:cs typeface="Boahmed Alhour" pitchFamily="2" charset="-78"/>
                </a:endParaRPr>
              </a:p>
            </p:txBody>
          </p:sp>
          <p:grpSp>
            <p:nvGrpSpPr>
              <p:cNvPr id="32" name="Graphique 72">
                <a:extLst>
                  <a:ext uri="{FF2B5EF4-FFF2-40B4-BE49-F238E27FC236}">
                    <a16:creationId xmlns:a16="http://schemas.microsoft.com/office/drawing/2014/main" id="{08A5D350-E27F-211B-C750-EEF8A7577276}"/>
                  </a:ext>
                </a:extLst>
              </p:cNvPr>
              <p:cNvGrpSpPr/>
              <p:nvPr/>
            </p:nvGrpSpPr>
            <p:grpSpPr>
              <a:xfrm>
                <a:off x="157532" y="285342"/>
                <a:ext cx="2058317" cy="2053595"/>
                <a:chOff x="157532" y="285342"/>
                <a:chExt cx="2058317" cy="2053595"/>
              </a:xfrm>
            </p:grpSpPr>
            <p:sp>
              <p:nvSpPr>
                <p:cNvPr id="33" name="Forme libre : forme 76">
                  <a:extLst>
                    <a:ext uri="{FF2B5EF4-FFF2-40B4-BE49-F238E27FC236}">
                      <a16:creationId xmlns:a16="http://schemas.microsoft.com/office/drawing/2014/main" id="{DA4A1B25-EF9B-0706-67CC-DB8EB976973C}"/>
                    </a:ext>
                  </a:extLst>
                </p:cNvPr>
                <p:cNvSpPr/>
                <p:nvPr/>
              </p:nvSpPr>
              <p:spPr>
                <a:xfrm>
                  <a:off x="157532" y="285342"/>
                  <a:ext cx="2058317" cy="2053595"/>
                </a:xfrm>
                <a:custGeom>
                  <a:avLst/>
                  <a:gdLst>
                    <a:gd name="connsiteX0" fmla="*/ 1980901 w 2058317"/>
                    <a:gd name="connsiteY0" fmla="*/ 1385151 h 2053595"/>
                    <a:gd name="connsiteX1" fmla="*/ 2008670 w 2058317"/>
                    <a:gd name="connsiteY1" fmla="*/ 1343789 h 2053595"/>
                    <a:gd name="connsiteX2" fmla="*/ 2009059 w 2058317"/>
                    <a:gd name="connsiteY2" fmla="*/ 1343401 h 2053595"/>
                    <a:gd name="connsiteX3" fmla="*/ 2057217 w 2058317"/>
                    <a:gd name="connsiteY3" fmla="*/ 980854 h 2053595"/>
                    <a:gd name="connsiteX4" fmla="*/ 1070165 w 2058317"/>
                    <a:gd name="connsiteY4" fmla="*/ 792 h 2053595"/>
                    <a:gd name="connsiteX5" fmla="*/ 0 w 2058317"/>
                    <a:gd name="connsiteY5" fmla="*/ 1029206 h 2053595"/>
                    <a:gd name="connsiteX6" fmla="*/ 925301 w 2058317"/>
                    <a:gd name="connsiteY6" fmla="*/ 2052960 h 2053595"/>
                    <a:gd name="connsiteX7" fmla="*/ 1003170 w 2058317"/>
                    <a:gd name="connsiteY7" fmla="*/ 2035289 h 2053595"/>
                    <a:gd name="connsiteX8" fmla="*/ 1980707 w 2058317"/>
                    <a:gd name="connsiteY8" fmla="*/ 1385928 h 2053595"/>
                    <a:gd name="connsiteX9" fmla="*/ 1980901 w 2058317"/>
                    <a:gd name="connsiteY9" fmla="*/ 1385151 h 20535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058317" h="2053595">
                      <a:moveTo>
                        <a:pt x="1980901" y="1385151"/>
                      </a:moveTo>
                      <a:cubicBezTo>
                        <a:pt x="1991388" y="1372140"/>
                        <a:pt x="1997019" y="1356023"/>
                        <a:pt x="2008670" y="1343789"/>
                      </a:cubicBezTo>
                      <a:cubicBezTo>
                        <a:pt x="2008864" y="1343595"/>
                        <a:pt x="2009059" y="1343595"/>
                        <a:pt x="2009059" y="1343401"/>
                      </a:cubicBezTo>
                      <a:cubicBezTo>
                        <a:pt x="2045566" y="1229801"/>
                        <a:pt x="2063043" y="1107852"/>
                        <a:pt x="2057217" y="980854"/>
                      </a:cubicBezTo>
                      <a:cubicBezTo>
                        <a:pt x="2032944" y="450529"/>
                        <a:pt x="1600489" y="21376"/>
                        <a:pt x="1070165" y="792"/>
                      </a:cubicBezTo>
                      <a:cubicBezTo>
                        <a:pt x="483137" y="-21928"/>
                        <a:pt x="0" y="447228"/>
                        <a:pt x="0" y="1029206"/>
                      </a:cubicBezTo>
                      <a:cubicBezTo>
                        <a:pt x="0" y="1562444"/>
                        <a:pt x="405657" y="2000918"/>
                        <a:pt x="925301" y="2052960"/>
                      </a:cubicBezTo>
                      <a:cubicBezTo>
                        <a:pt x="952487" y="2055679"/>
                        <a:pt x="979868" y="2049659"/>
                        <a:pt x="1003170" y="2035289"/>
                      </a:cubicBezTo>
                      <a:cubicBezTo>
                        <a:pt x="1171142" y="1931593"/>
                        <a:pt x="1853709" y="1481273"/>
                        <a:pt x="1980707" y="1385928"/>
                      </a:cubicBezTo>
                      <a:cubicBezTo>
                        <a:pt x="1980707" y="1385733"/>
                        <a:pt x="1980707" y="1385345"/>
                        <a:pt x="1980901" y="1385151"/>
                      </a:cubicBezTo>
                      <a:close/>
                    </a:path>
                  </a:pathLst>
                </a:custGeom>
                <a:gradFill>
                  <a:gsLst>
                    <a:gs pos="50000">
                      <a:srgbClr val="38A4B4"/>
                    </a:gs>
                    <a:gs pos="0">
                      <a:srgbClr val="70B1B6"/>
                    </a:gs>
                    <a:gs pos="100000">
                      <a:srgbClr val="0097B2"/>
                    </a:gs>
                  </a:gsLst>
                  <a:lin ang="5400000" scaled="1"/>
                </a:gradFill>
                <a:ln w="136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Forme libre : forme 77">
                  <a:extLst>
                    <a:ext uri="{FF2B5EF4-FFF2-40B4-BE49-F238E27FC236}">
                      <a16:creationId xmlns:a16="http://schemas.microsoft.com/office/drawing/2014/main" id="{800696A1-46D9-C432-0608-AF9760014DE1}"/>
                    </a:ext>
                  </a:extLst>
                </p:cNvPr>
                <p:cNvSpPr/>
                <p:nvPr/>
              </p:nvSpPr>
              <p:spPr>
                <a:xfrm>
                  <a:off x="930202" y="1608353"/>
                  <a:ext cx="1239495" cy="722809"/>
                </a:xfrm>
                <a:custGeom>
                  <a:avLst/>
                  <a:gdLst>
                    <a:gd name="connsiteX0" fmla="*/ 1239496 w 1239495"/>
                    <a:gd name="connsiteY0" fmla="*/ 0 h 722809"/>
                    <a:gd name="connsiteX1" fmla="*/ 1149587 w 1239495"/>
                    <a:gd name="connsiteY1" fmla="*/ 36313 h 722809"/>
                    <a:gd name="connsiteX2" fmla="*/ 1039871 w 1239495"/>
                    <a:gd name="connsiteY2" fmla="*/ 41168 h 722809"/>
                    <a:gd name="connsiteX3" fmla="*/ 822382 w 1239495"/>
                    <a:gd name="connsiteY3" fmla="*/ 88549 h 722809"/>
                    <a:gd name="connsiteX4" fmla="*/ 624894 w 1239495"/>
                    <a:gd name="connsiteY4" fmla="*/ 179235 h 722809"/>
                    <a:gd name="connsiteX5" fmla="*/ 452456 w 1239495"/>
                    <a:gd name="connsiteY5" fmla="*/ 307786 h 722809"/>
                    <a:gd name="connsiteX6" fmla="*/ 310505 w 1239495"/>
                    <a:gd name="connsiteY6" fmla="*/ 468961 h 722809"/>
                    <a:gd name="connsiteX7" fmla="*/ 218849 w 1239495"/>
                    <a:gd name="connsiteY7" fmla="*/ 625671 h 722809"/>
                    <a:gd name="connsiteX8" fmla="*/ 166612 w 1239495"/>
                    <a:gd name="connsiteY8" fmla="*/ 677130 h 722809"/>
                    <a:gd name="connsiteX9" fmla="*/ 0 w 1239495"/>
                    <a:gd name="connsiteY9" fmla="*/ 692471 h 722809"/>
                    <a:gd name="connsiteX10" fmla="*/ 179429 w 1239495"/>
                    <a:gd name="connsiteY10" fmla="*/ 721599 h 722809"/>
                    <a:gd name="connsiteX11" fmla="*/ 788982 w 1239495"/>
                    <a:gd name="connsiteY11" fmla="*/ 407598 h 722809"/>
                    <a:gd name="connsiteX12" fmla="*/ 1166093 w 1239495"/>
                    <a:gd name="connsiteY12" fmla="*/ 99424 h 722809"/>
                    <a:gd name="connsiteX13" fmla="*/ 1199687 w 1239495"/>
                    <a:gd name="connsiteY13" fmla="*/ 66218 h 722809"/>
                    <a:gd name="connsiteX14" fmla="*/ 1239496 w 1239495"/>
                    <a:gd name="connsiteY14" fmla="*/ 0 h 722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239495" h="722809">
                      <a:moveTo>
                        <a:pt x="1239496" y="0"/>
                      </a:moveTo>
                      <a:cubicBezTo>
                        <a:pt x="1220077" y="32818"/>
                        <a:pt x="1182016" y="36895"/>
                        <a:pt x="1149587" y="36313"/>
                      </a:cubicBezTo>
                      <a:cubicBezTo>
                        <a:pt x="1112886" y="35730"/>
                        <a:pt x="1076379" y="37284"/>
                        <a:pt x="1039871" y="41168"/>
                      </a:cubicBezTo>
                      <a:cubicBezTo>
                        <a:pt x="965886" y="48935"/>
                        <a:pt x="892872" y="64858"/>
                        <a:pt x="822382" y="88549"/>
                      </a:cubicBezTo>
                      <a:cubicBezTo>
                        <a:pt x="753640" y="111658"/>
                        <a:pt x="687228" y="142145"/>
                        <a:pt x="624894" y="179235"/>
                      </a:cubicBezTo>
                      <a:cubicBezTo>
                        <a:pt x="563142" y="215936"/>
                        <a:pt x="505274" y="259045"/>
                        <a:pt x="452456" y="307786"/>
                      </a:cubicBezTo>
                      <a:cubicBezTo>
                        <a:pt x="399831" y="356333"/>
                        <a:pt x="352061" y="410511"/>
                        <a:pt x="310505" y="468961"/>
                      </a:cubicBezTo>
                      <a:cubicBezTo>
                        <a:pt x="275357" y="518285"/>
                        <a:pt x="244676" y="570910"/>
                        <a:pt x="218849" y="625671"/>
                      </a:cubicBezTo>
                      <a:cubicBezTo>
                        <a:pt x="210693" y="642759"/>
                        <a:pt x="186031" y="665867"/>
                        <a:pt x="166612" y="677130"/>
                      </a:cubicBezTo>
                      <a:cubicBezTo>
                        <a:pt x="84471" y="724900"/>
                        <a:pt x="41168" y="698879"/>
                        <a:pt x="0" y="692471"/>
                      </a:cubicBezTo>
                      <a:cubicBezTo>
                        <a:pt x="108745" y="731891"/>
                        <a:pt x="179429" y="721599"/>
                        <a:pt x="179429" y="721599"/>
                      </a:cubicBezTo>
                      <a:cubicBezTo>
                        <a:pt x="285649" y="714996"/>
                        <a:pt x="563531" y="561200"/>
                        <a:pt x="788982" y="407598"/>
                      </a:cubicBezTo>
                      <a:cubicBezTo>
                        <a:pt x="940642" y="304291"/>
                        <a:pt x="1065310" y="197488"/>
                        <a:pt x="1166093" y="99424"/>
                      </a:cubicBezTo>
                      <a:cubicBezTo>
                        <a:pt x="1179686" y="87384"/>
                        <a:pt x="1190560" y="76315"/>
                        <a:pt x="1199687" y="66218"/>
                      </a:cubicBezTo>
                      <a:cubicBezTo>
                        <a:pt x="1225708" y="37672"/>
                        <a:pt x="1239496" y="0"/>
                        <a:pt x="1239496" y="0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005664"/>
                    </a:gs>
                    <a:gs pos="99350">
                      <a:srgbClr val="0097B2"/>
                    </a:gs>
                  </a:gsLst>
                  <a:lin ang="14501957" scaled="1"/>
                </a:gradFill>
                <a:ln w="136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29" name="ZoneTexte 78">
              <a:extLst>
                <a:ext uri="{FF2B5EF4-FFF2-40B4-BE49-F238E27FC236}">
                  <a16:creationId xmlns:a16="http://schemas.microsoft.com/office/drawing/2014/main" id="{98EBFAAA-78FA-D1FD-2442-2EF4EB78946D}"/>
                </a:ext>
              </a:extLst>
            </p:cNvPr>
            <p:cNvSpPr txBox="1"/>
            <p:nvPr/>
          </p:nvSpPr>
          <p:spPr>
            <a:xfrm>
              <a:off x="7066256" y="2094632"/>
              <a:ext cx="163264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ar-MA" sz="2000" b="1" kern="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 pitchFamily="34" charset="0"/>
                  <a:cs typeface="Calibri" panose="020F0502020204030204" pitchFamily="34" charset="0"/>
                </a:rPr>
                <a:t>المرحلة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1600" b="1" i="0" u="none" strike="noStrike" kern="1200" cap="none" spc="0" normalizeH="0" baseline="0" noProof="0" dirty="0">
                  <a:ln>
                    <a:noFill/>
                  </a:ln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ir Strip Arabic" panose="02000500000000000000" pitchFamily="2" charset="-78"/>
                  <a:ea typeface="+mn-ea"/>
                  <a:cs typeface="Air Strip Arabic" panose="02000500000000000000" pitchFamily="2" charset="-78"/>
                </a:rPr>
                <a:t> </a:t>
              </a:r>
              <a:endParaRPr kumimoji="0" lang="ar-MA" sz="1600" b="1" i="0" u="none" strike="noStrike" kern="1200" cap="none" spc="0" normalizeH="0" baseline="0" noProof="0" dirty="0">
                <a:ln>
                  <a:noFill/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endParaRPr>
            </a:p>
          </p:txBody>
        </p:sp>
        <p:sp>
          <p:nvSpPr>
            <p:cNvPr id="30" name="ZoneTexte 1">
              <a:extLst>
                <a:ext uri="{FF2B5EF4-FFF2-40B4-BE49-F238E27FC236}">
                  <a16:creationId xmlns:a16="http://schemas.microsoft.com/office/drawing/2014/main" id="{0AFBC2AD-27C0-70B4-EE3F-FD6FB36FAB42}"/>
                </a:ext>
              </a:extLst>
            </p:cNvPr>
            <p:cNvSpPr txBox="1"/>
            <p:nvPr/>
          </p:nvSpPr>
          <p:spPr>
            <a:xfrm>
              <a:off x="7066003" y="2411583"/>
              <a:ext cx="163264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ar-MA" sz="2000" b="1" kern="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</p:grp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2B28070-97B4-EB69-4C3B-0D63BD7A5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B70DDBFB-155C-9D63-6B11-10C4544C4126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Google Shape;313;p11">
            <a:extLst>
              <a:ext uri="{FF2B5EF4-FFF2-40B4-BE49-F238E27FC236}">
                <a16:creationId xmlns:a16="http://schemas.microsoft.com/office/drawing/2014/main" id="{FCCA8853-BF7D-82E3-B949-6D92483E118F}"/>
              </a:ext>
            </a:extLst>
          </p:cNvPr>
          <p:cNvSpPr txBox="1"/>
          <p:nvPr/>
        </p:nvSpPr>
        <p:spPr>
          <a:xfrm>
            <a:off x="1040063" y="575388"/>
            <a:ext cx="7462091" cy="338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خذوا الألواح.</a:t>
            </a:r>
            <a:endParaRPr i="1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5A6F770A-DB07-7D2C-3BB2-41D838535BC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025" t="14561" r="11389" b="14089"/>
          <a:stretch/>
        </p:blipFill>
        <p:spPr>
          <a:xfrm>
            <a:off x="2591780" y="2204864"/>
            <a:ext cx="3960440" cy="2816312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36398066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3484B21-E606-1B41-C733-1BFEBA809E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EFF69EC9-2D4F-8EF8-4325-A68B99AC2B16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Google Shape;313;p11">
            <a:extLst>
              <a:ext uri="{FF2B5EF4-FFF2-40B4-BE49-F238E27FC236}">
                <a16:creationId xmlns:a16="http://schemas.microsoft.com/office/drawing/2014/main" id="{08C516E1-1BDC-1003-8590-5891D20CAF0F}"/>
              </a:ext>
            </a:extLst>
          </p:cNvPr>
          <p:cNvSpPr txBox="1"/>
          <p:nvPr/>
        </p:nvSpPr>
        <p:spPr>
          <a:xfrm>
            <a:off x="1040063" y="575388"/>
            <a:ext cx="7462091" cy="338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سنكمل تفكيك العدد 2. اكتبوا العدد الناقص على الألواح.</a:t>
            </a:r>
            <a:endParaRPr i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8F50507C-9706-D661-81BD-090DC458791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025" t="14561" r="11389" b="14089"/>
          <a:stretch/>
        </p:blipFill>
        <p:spPr>
          <a:xfrm>
            <a:off x="398217" y="575388"/>
            <a:ext cx="756084" cy="537660"/>
          </a:xfrm>
          <a:prstGeom prst="round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5B112CDB-20C5-0E32-55CB-9CDDDB5C17D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71006" y="2487650"/>
            <a:ext cx="3001988" cy="2652549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9A7D8EC3-7722-9F6A-DE33-945E7D1AE65D}"/>
              </a:ext>
            </a:extLst>
          </p:cNvPr>
          <p:cNvSpPr txBox="1"/>
          <p:nvPr/>
        </p:nvSpPr>
        <p:spPr>
          <a:xfrm>
            <a:off x="4223186" y="2497936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/>
              <a:t>2</a:t>
            </a:r>
            <a:endParaRPr lang="fr-FR" sz="7200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0F35A8C4-17CE-15BD-EBCE-AE05256D46C4}"/>
              </a:ext>
            </a:extLst>
          </p:cNvPr>
          <p:cNvSpPr txBox="1"/>
          <p:nvPr/>
        </p:nvSpPr>
        <p:spPr>
          <a:xfrm>
            <a:off x="3324017" y="3871046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5ED37D6C-C05C-5DE5-AD70-613E64FEA3E6}"/>
              </a:ext>
            </a:extLst>
          </p:cNvPr>
          <p:cNvSpPr txBox="1"/>
          <p:nvPr/>
        </p:nvSpPr>
        <p:spPr>
          <a:xfrm>
            <a:off x="5218175" y="3813924"/>
            <a:ext cx="44114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fr-FR" sz="72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92029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379A4EE-60B1-37CF-69F9-0D92FE52BB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6B81BB8D-42A9-BE65-A9E7-A707166CF407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Google Shape;313;p11">
            <a:extLst>
              <a:ext uri="{FF2B5EF4-FFF2-40B4-BE49-F238E27FC236}">
                <a16:creationId xmlns:a16="http://schemas.microsoft.com/office/drawing/2014/main" id="{EA694812-12E0-66B2-488B-9FEB9E1BFD55}"/>
              </a:ext>
            </a:extLst>
          </p:cNvPr>
          <p:cNvSpPr txBox="1"/>
          <p:nvPr/>
        </p:nvSpPr>
        <p:spPr>
          <a:xfrm>
            <a:off x="1040063" y="575388"/>
            <a:ext cx="7462091" cy="338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نصحح. العدد 2 هو 1 و1.</a:t>
            </a:r>
            <a:endParaRPr i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A53FB959-6B3D-30CB-1304-46D6BE8ED3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7687" y="612505"/>
            <a:ext cx="1444751" cy="1035965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58098A15-E69C-A8E2-5BC4-B17967F06A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71006" y="2487650"/>
            <a:ext cx="3001988" cy="2652549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241F1FD5-6A11-A134-680B-6CD5E190E308}"/>
              </a:ext>
            </a:extLst>
          </p:cNvPr>
          <p:cNvSpPr txBox="1"/>
          <p:nvPr/>
        </p:nvSpPr>
        <p:spPr>
          <a:xfrm>
            <a:off x="4223186" y="2497936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/>
              <a:t>2</a:t>
            </a:r>
            <a:endParaRPr lang="fr-FR" sz="7200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5846634-A0C3-6498-05CC-0FA1A77967A0}"/>
              </a:ext>
            </a:extLst>
          </p:cNvPr>
          <p:cNvSpPr txBox="1"/>
          <p:nvPr/>
        </p:nvSpPr>
        <p:spPr>
          <a:xfrm>
            <a:off x="3324017" y="3871046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D9A47909-C55C-8E1E-E73C-E7AFAA15855B}"/>
              </a:ext>
            </a:extLst>
          </p:cNvPr>
          <p:cNvSpPr txBox="1"/>
          <p:nvPr/>
        </p:nvSpPr>
        <p:spPr>
          <a:xfrm>
            <a:off x="5110166" y="3854526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fr-FR" sz="72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ube 7">
            <a:extLst>
              <a:ext uri="{FF2B5EF4-FFF2-40B4-BE49-F238E27FC236}">
                <a16:creationId xmlns:a16="http://schemas.microsoft.com/office/drawing/2014/main" id="{EFDE49ED-7AAA-C531-57EB-8BE131680EF4}"/>
              </a:ext>
            </a:extLst>
          </p:cNvPr>
          <p:cNvSpPr>
            <a:spLocks/>
          </p:cNvSpPr>
          <p:nvPr/>
        </p:nvSpPr>
        <p:spPr>
          <a:xfrm>
            <a:off x="4021644" y="1932550"/>
            <a:ext cx="362712" cy="338528"/>
          </a:xfrm>
          <a:prstGeom prst="cube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12" name="Cube 11">
            <a:extLst>
              <a:ext uri="{FF2B5EF4-FFF2-40B4-BE49-F238E27FC236}">
                <a16:creationId xmlns:a16="http://schemas.microsoft.com/office/drawing/2014/main" id="{46D47EAF-0DD7-A2D0-ABA4-F6BC4772BA53}"/>
              </a:ext>
            </a:extLst>
          </p:cNvPr>
          <p:cNvSpPr>
            <a:spLocks/>
          </p:cNvSpPr>
          <p:nvPr/>
        </p:nvSpPr>
        <p:spPr>
          <a:xfrm>
            <a:off x="4752872" y="1932550"/>
            <a:ext cx="362712" cy="338528"/>
          </a:xfrm>
          <a:prstGeom prst="cube">
            <a:avLst/>
          </a:prstGeom>
          <a:solidFill>
            <a:srgbClr val="0070C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19793428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249A197-B9A2-C2CE-851A-A399EDC32B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6E1B1C51-AD09-3021-2B6A-D4366B460668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Google Shape;313;p11">
            <a:extLst>
              <a:ext uri="{FF2B5EF4-FFF2-40B4-BE49-F238E27FC236}">
                <a16:creationId xmlns:a16="http://schemas.microsoft.com/office/drawing/2014/main" id="{37837560-CF92-D3E8-B758-27E60C3721F3}"/>
              </a:ext>
            </a:extLst>
          </p:cNvPr>
          <p:cNvSpPr txBox="1"/>
          <p:nvPr/>
        </p:nvSpPr>
        <p:spPr>
          <a:xfrm>
            <a:off x="1040063" y="575388"/>
            <a:ext cx="7462091" cy="338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سنكمل تفكيك العدد 3. اكتبوا العدد الناقص على الألواح.</a:t>
            </a:r>
            <a:endParaRPr i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F93DF5E9-8C9A-9405-8D6B-2C92BDBA6C2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025" t="14561" r="11389" b="14089"/>
          <a:stretch/>
        </p:blipFill>
        <p:spPr>
          <a:xfrm>
            <a:off x="398217" y="704839"/>
            <a:ext cx="756084" cy="537660"/>
          </a:xfrm>
          <a:prstGeom prst="round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564D6322-8541-E9C0-377A-BF2B72806DE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71006" y="2487650"/>
            <a:ext cx="3001988" cy="2652549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EF73FB54-B77A-FE0B-A16A-23A93A9294FA}"/>
              </a:ext>
            </a:extLst>
          </p:cNvPr>
          <p:cNvSpPr txBox="1"/>
          <p:nvPr/>
        </p:nvSpPr>
        <p:spPr>
          <a:xfrm>
            <a:off x="4223186" y="2497936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 dirty="0"/>
              <a:t>3</a:t>
            </a:r>
            <a:endParaRPr lang="fr-FR" sz="7200" dirty="0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F5000371-AB30-B325-B29F-40C9884F9C8E}"/>
              </a:ext>
            </a:extLst>
          </p:cNvPr>
          <p:cNvSpPr txBox="1"/>
          <p:nvPr/>
        </p:nvSpPr>
        <p:spPr>
          <a:xfrm>
            <a:off x="3324017" y="3871046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E1390E37-2529-08D4-2FCF-6DB4E4239A70}"/>
              </a:ext>
            </a:extLst>
          </p:cNvPr>
          <p:cNvSpPr txBox="1"/>
          <p:nvPr/>
        </p:nvSpPr>
        <p:spPr>
          <a:xfrm>
            <a:off x="5218175" y="3813924"/>
            <a:ext cx="44114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fr-FR" sz="72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75480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F42F090-2DCA-BB20-1E41-FC1DD37657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>
            <a:extLst>
              <a:ext uri="{FF2B5EF4-FFF2-40B4-BE49-F238E27FC236}">
                <a16:creationId xmlns:a16="http://schemas.microsoft.com/office/drawing/2014/main" id="{F0B68957-D6EE-A89B-7FBC-1016EC3664E8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Google Shape;313;p11">
            <a:extLst>
              <a:ext uri="{FF2B5EF4-FFF2-40B4-BE49-F238E27FC236}">
                <a16:creationId xmlns:a16="http://schemas.microsoft.com/office/drawing/2014/main" id="{2A34BFEF-F5AD-E281-1682-BF7B9F44A272}"/>
              </a:ext>
            </a:extLst>
          </p:cNvPr>
          <p:cNvSpPr txBox="1"/>
          <p:nvPr/>
        </p:nvSpPr>
        <p:spPr>
          <a:xfrm>
            <a:off x="1040063" y="575388"/>
            <a:ext cx="7462091" cy="338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نصحح. العدد 3 هو 1 و2.</a:t>
            </a:r>
            <a:endParaRPr i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F567559B-7E5F-BF03-B612-1BF62932CC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7687" y="612505"/>
            <a:ext cx="1444751" cy="1035965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EB881249-B2DE-36B3-CCB7-C87033D01D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71006" y="2487650"/>
            <a:ext cx="3001988" cy="2652549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E0E85DBE-B20B-9BD5-C634-8C72D09AA799}"/>
              </a:ext>
            </a:extLst>
          </p:cNvPr>
          <p:cNvSpPr txBox="1"/>
          <p:nvPr/>
        </p:nvSpPr>
        <p:spPr>
          <a:xfrm>
            <a:off x="4223186" y="2497936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 dirty="0"/>
              <a:t>3</a:t>
            </a:r>
            <a:endParaRPr lang="fr-FR" sz="7200" dirty="0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1D781174-2047-0E82-68A8-365DD811F727}"/>
              </a:ext>
            </a:extLst>
          </p:cNvPr>
          <p:cNvSpPr txBox="1"/>
          <p:nvPr/>
        </p:nvSpPr>
        <p:spPr>
          <a:xfrm>
            <a:off x="3324017" y="3871046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8923C74C-DC45-CDA2-8F1A-0BF0F902E129}"/>
              </a:ext>
            </a:extLst>
          </p:cNvPr>
          <p:cNvSpPr txBox="1"/>
          <p:nvPr/>
        </p:nvSpPr>
        <p:spPr>
          <a:xfrm>
            <a:off x="5110166" y="3854526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fr-FR" sz="72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ube 7">
            <a:extLst>
              <a:ext uri="{FF2B5EF4-FFF2-40B4-BE49-F238E27FC236}">
                <a16:creationId xmlns:a16="http://schemas.microsoft.com/office/drawing/2014/main" id="{B5602F2E-4387-7F42-4D6B-7B64EEC89940}"/>
              </a:ext>
            </a:extLst>
          </p:cNvPr>
          <p:cNvSpPr>
            <a:spLocks/>
          </p:cNvSpPr>
          <p:nvPr/>
        </p:nvSpPr>
        <p:spPr>
          <a:xfrm>
            <a:off x="3887532" y="1932550"/>
            <a:ext cx="362712" cy="338528"/>
          </a:xfrm>
          <a:prstGeom prst="cube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10" name="Cube 9">
            <a:extLst>
              <a:ext uri="{FF2B5EF4-FFF2-40B4-BE49-F238E27FC236}">
                <a16:creationId xmlns:a16="http://schemas.microsoft.com/office/drawing/2014/main" id="{FFEBA945-8726-0981-8A5B-B6D80D06E1D0}"/>
              </a:ext>
            </a:extLst>
          </p:cNvPr>
          <p:cNvSpPr>
            <a:spLocks/>
          </p:cNvSpPr>
          <p:nvPr/>
        </p:nvSpPr>
        <p:spPr>
          <a:xfrm>
            <a:off x="4387112" y="1932550"/>
            <a:ext cx="362712" cy="338528"/>
          </a:xfrm>
          <a:prstGeom prst="cube">
            <a:avLst/>
          </a:prstGeom>
          <a:solidFill>
            <a:srgbClr val="0070C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/>
          </a:p>
        </p:txBody>
      </p:sp>
      <p:sp>
        <p:nvSpPr>
          <p:cNvPr id="11" name="Cube 10">
            <a:extLst>
              <a:ext uri="{FF2B5EF4-FFF2-40B4-BE49-F238E27FC236}">
                <a16:creationId xmlns:a16="http://schemas.microsoft.com/office/drawing/2014/main" id="{B0AA6849-C413-EF73-1F02-FDB1ED63048B}"/>
              </a:ext>
            </a:extLst>
          </p:cNvPr>
          <p:cNvSpPr>
            <a:spLocks/>
          </p:cNvSpPr>
          <p:nvPr/>
        </p:nvSpPr>
        <p:spPr>
          <a:xfrm>
            <a:off x="4863095" y="1932550"/>
            <a:ext cx="362712" cy="338528"/>
          </a:xfrm>
          <a:prstGeom prst="cube">
            <a:avLst/>
          </a:prstGeom>
          <a:solidFill>
            <a:srgbClr val="0070C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36235532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98AAE3F-05E2-D87F-0948-AAC36E7776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068E6A1B-3345-D25C-A3E5-40A095F6DB28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Google Shape;313;p11">
            <a:extLst>
              <a:ext uri="{FF2B5EF4-FFF2-40B4-BE49-F238E27FC236}">
                <a16:creationId xmlns:a16="http://schemas.microsoft.com/office/drawing/2014/main" id="{A93F86C7-DC59-CC46-2F7B-6C7555AB04E4}"/>
              </a:ext>
            </a:extLst>
          </p:cNvPr>
          <p:cNvSpPr txBox="1"/>
          <p:nvPr/>
        </p:nvSpPr>
        <p:spPr>
          <a:xfrm>
            <a:off x="1040063" y="575388"/>
            <a:ext cx="7462091" cy="338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سنكمل تفكيك العدد 3. اكتبوا العدد الناقص على الألواح.</a:t>
            </a:r>
            <a:endParaRPr i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F54AD8F8-7110-5984-3AC6-302562D2CF2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025" t="14561" r="11389" b="14089"/>
          <a:stretch/>
        </p:blipFill>
        <p:spPr>
          <a:xfrm>
            <a:off x="398217" y="645086"/>
            <a:ext cx="756084" cy="537660"/>
          </a:xfrm>
          <a:prstGeom prst="round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8B5421C3-5B07-F48D-1059-FC36091D064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71006" y="2487650"/>
            <a:ext cx="3001988" cy="2652549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093A3384-EBDD-BC48-FEBE-6E3CC233AF66}"/>
              </a:ext>
            </a:extLst>
          </p:cNvPr>
          <p:cNvSpPr txBox="1"/>
          <p:nvPr/>
        </p:nvSpPr>
        <p:spPr>
          <a:xfrm>
            <a:off x="4223186" y="2497936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 dirty="0"/>
              <a:t>3</a:t>
            </a:r>
            <a:endParaRPr lang="fr-FR" sz="7200" dirty="0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A77E8684-B07F-3447-4D58-699A3C343B1F}"/>
              </a:ext>
            </a:extLst>
          </p:cNvPr>
          <p:cNvSpPr txBox="1"/>
          <p:nvPr/>
        </p:nvSpPr>
        <p:spPr>
          <a:xfrm>
            <a:off x="3324017" y="3871046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fr-FR" sz="72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72ADA7B8-83B3-6C76-6C29-CF3DE2F96065}"/>
              </a:ext>
            </a:extLst>
          </p:cNvPr>
          <p:cNvSpPr txBox="1"/>
          <p:nvPr/>
        </p:nvSpPr>
        <p:spPr>
          <a:xfrm>
            <a:off x="5218175" y="3813924"/>
            <a:ext cx="44114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fr-FR" sz="72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46005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C843557-B5E9-213B-8061-1B7D57E841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>
            <a:extLst>
              <a:ext uri="{FF2B5EF4-FFF2-40B4-BE49-F238E27FC236}">
                <a16:creationId xmlns:a16="http://schemas.microsoft.com/office/drawing/2014/main" id="{3A25341C-CAA3-671E-EB76-65B9CD646A5D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Google Shape;313;p11">
            <a:extLst>
              <a:ext uri="{FF2B5EF4-FFF2-40B4-BE49-F238E27FC236}">
                <a16:creationId xmlns:a16="http://schemas.microsoft.com/office/drawing/2014/main" id="{E92DD617-D6EE-4DC2-BF99-E3F5D5358628}"/>
              </a:ext>
            </a:extLst>
          </p:cNvPr>
          <p:cNvSpPr txBox="1"/>
          <p:nvPr/>
        </p:nvSpPr>
        <p:spPr>
          <a:xfrm>
            <a:off x="1040063" y="575388"/>
            <a:ext cx="7462091" cy="338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نصحح. العدد 3 هو أيضا 2 و1.</a:t>
            </a:r>
            <a:endParaRPr i="1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3B83C9FF-3FC6-5510-D9E5-7404838946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7687" y="612505"/>
            <a:ext cx="1444751" cy="1035965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22E22D46-5A75-E071-D80B-E171924997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71006" y="2487650"/>
            <a:ext cx="3001988" cy="2652549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8223BCE5-8D4C-A5D7-E8EB-4B035B8E4A4E}"/>
              </a:ext>
            </a:extLst>
          </p:cNvPr>
          <p:cNvSpPr txBox="1"/>
          <p:nvPr/>
        </p:nvSpPr>
        <p:spPr>
          <a:xfrm>
            <a:off x="4223186" y="2497936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 dirty="0"/>
              <a:t>3</a:t>
            </a:r>
            <a:endParaRPr lang="fr-FR" sz="7200" dirty="0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1A4A346C-4BAE-61AD-C099-C9DBFFF74C0F}"/>
              </a:ext>
            </a:extLst>
          </p:cNvPr>
          <p:cNvSpPr txBox="1"/>
          <p:nvPr/>
        </p:nvSpPr>
        <p:spPr>
          <a:xfrm>
            <a:off x="3324017" y="3871046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fr-FR" sz="72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A1B18B04-C21A-1AA6-4A86-CB942074506C}"/>
              </a:ext>
            </a:extLst>
          </p:cNvPr>
          <p:cNvSpPr txBox="1"/>
          <p:nvPr/>
        </p:nvSpPr>
        <p:spPr>
          <a:xfrm>
            <a:off x="5110166" y="3854526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fr-FR" sz="72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ube 7">
            <a:extLst>
              <a:ext uri="{FF2B5EF4-FFF2-40B4-BE49-F238E27FC236}">
                <a16:creationId xmlns:a16="http://schemas.microsoft.com/office/drawing/2014/main" id="{66FDAF17-B48D-138D-44FA-AB7FD1B08F2B}"/>
              </a:ext>
            </a:extLst>
          </p:cNvPr>
          <p:cNvSpPr>
            <a:spLocks/>
          </p:cNvSpPr>
          <p:nvPr/>
        </p:nvSpPr>
        <p:spPr>
          <a:xfrm>
            <a:off x="3887532" y="1932550"/>
            <a:ext cx="362712" cy="338528"/>
          </a:xfrm>
          <a:prstGeom prst="cube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10" name="Cube 9">
            <a:extLst>
              <a:ext uri="{FF2B5EF4-FFF2-40B4-BE49-F238E27FC236}">
                <a16:creationId xmlns:a16="http://schemas.microsoft.com/office/drawing/2014/main" id="{B7FF82A1-F3E0-29C0-3CD2-893F40FC0905}"/>
              </a:ext>
            </a:extLst>
          </p:cNvPr>
          <p:cNvSpPr>
            <a:spLocks/>
          </p:cNvSpPr>
          <p:nvPr/>
        </p:nvSpPr>
        <p:spPr>
          <a:xfrm>
            <a:off x="4387112" y="1932550"/>
            <a:ext cx="362712" cy="338528"/>
          </a:xfrm>
          <a:prstGeom prst="cube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/>
          </a:p>
        </p:txBody>
      </p:sp>
      <p:sp>
        <p:nvSpPr>
          <p:cNvPr id="11" name="Cube 10">
            <a:extLst>
              <a:ext uri="{FF2B5EF4-FFF2-40B4-BE49-F238E27FC236}">
                <a16:creationId xmlns:a16="http://schemas.microsoft.com/office/drawing/2014/main" id="{F20C561A-7D97-01D1-A052-9996D4868C87}"/>
              </a:ext>
            </a:extLst>
          </p:cNvPr>
          <p:cNvSpPr>
            <a:spLocks/>
          </p:cNvSpPr>
          <p:nvPr/>
        </p:nvSpPr>
        <p:spPr>
          <a:xfrm>
            <a:off x="4863095" y="1932550"/>
            <a:ext cx="362712" cy="338528"/>
          </a:xfrm>
          <a:prstGeom prst="cube">
            <a:avLst/>
          </a:prstGeom>
          <a:solidFill>
            <a:srgbClr val="0070C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 dirty="0"/>
          </a:p>
        </p:txBody>
      </p:sp>
    </p:spTree>
    <p:extLst>
      <p:ext uri="{BB962C8B-B14F-4D97-AF65-F5344CB8AC3E}">
        <p14:creationId xmlns:p14="http://schemas.microsoft.com/office/powerpoint/2010/main" val="27970368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DDE7A29-D798-E6BF-88A9-33EE8B5B8B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FED0AD2F-6EF6-79F3-4517-CDB4EB5B2D4A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AE544309-051C-0E1E-5D0D-1DAA508C1338}"/>
              </a:ext>
            </a:extLst>
          </p:cNvPr>
          <p:cNvSpPr txBox="1"/>
          <p:nvPr/>
        </p:nvSpPr>
        <p:spPr>
          <a:xfrm>
            <a:off x="759329" y="510575"/>
            <a:ext cx="7806610" cy="392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rtl="1">
              <a:lnSpc>
                <a:spcPct val="115000"/>
              </a:lnSpc>
              <a:spcAft>
                <a:spcPts val="800"/>
              </a:spcAft>
            </a:pPr>
            <a:r>
              <a:rPr lang="ar-MA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في درس اليوم سنتعلم كيف نفكك العددين 4 و5.</a:t>
            </a:r>
            <a:endParaRPr lang="fr-MA" b="1" dirty="0">
              <a:solidFill>
                <a:prstClr val="white">
                  <a:lumMod val="65000"/>
                </a:prst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F0E29129-FCFD-75F5-BDC7-E4B83BB545D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4517" y="1583618"/>
            <a:ext cx="8214965" cy="4414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47097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6ACC123-8E56-B669-F405-3F4D1081F9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90BE3E36-9B34-B7CD-BFF3-C78A5751426F}"/>
              </a:ext>
            </a:extLst>
          </p:cNvPr>
          <p:cNvPicPr/>
          <p:nvPr/>
        </p:nvPicPr>
        <p:blipFill>
          <a:blip r:embed="rId7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CE09179B-12C1-E5AB-2BDA-EE74D4D11A1B}"/>
              </a:ext>
            </a:extLst>
          </p:cNvPr>
          <p:cNvSpPr txBox="1"/>
          <p:nvPr/>
        </p:nvSpPr>
        <p:spPr>
          <a:xfrm>
            <a:off x="668695" y="526975"/>
            <a:ext cx="7806610" cy="392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>
              <a:lnSpc>
                <a:spcPct val="115000"/>
              </a:lnSpc>
              <a:spcAft>
                <a:spcPts val="800"/>
              </a:spcAft>
            </a:pPr>
            <a:r>
              <a:rPr lang="ar-MA" b="1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ضعوا أدواتكم على الطاولة : اللوحة والقلم، الكراسة، قلم الرصاص</a:t>
            </a:r>
            <a:endParaRPr lang="fr-MA" b="1">
              <a:solidFill>
                <a:prstClr val="white">
                  <a:lumMod val="65000"/>
                </a:prst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53A01777-B08B-DCC1-B6FF-46387FECC8A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99792" y="2366186"/>
            <a:ext cx="1390875" cy="2122915"/>
          </a:xfrm>
          <a:prstGeom prst="rect">
            <a:avLst/>
          </a:prstGeom>
          <a:ln>
            <a:noFill/>
          </a:ln>
          <a:effectLst/>
        </p:spPr>
      </p:pic>
      <p:sp>
        <p:nvSpPr>
          <p:cNvPr id="8" name="Rectangle : coins arrondis 20">
            <a:extLst>
              <a:ext uri="{FF2B5EF4-FFF2-40B4-BE49-F238E27FC236}">
                <a16:creationId xmlns:a16="http://schemas.microsoft.com/office/drawing/2014/main" id="{55618918-9777-A21B-0BCD-03B83178CBF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39552" y="4888456"/>
            <a:ext cx="1518287" cy="419617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1600" b="1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قلم الرصاص</a:t>
            </a:r>
            <a:endParaRPr lang="fr-FR" sz="1600" b="1">
              <a:solidFill>
                <a:srgbClr val="4BACC6">
                  <a:lumMod val="50000"/>
                </a:srgb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EBDE4094-2C57-7196-CDB9-105B7E4041B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699792" y="4891554"/>
            <a:ext cx="1373327" cy="419617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1600" b="1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كراسة المتعلم</a:t>
            </a:r>
            <a:endParaRPr lang="fr-FR" sz="1600" b="1">
              <a:solidFill>
                <a:srgbClr val="4BACC6">
                  <a:lumMod val="50000"/>
                </a:srgb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13" name="Picture 9">
            <a:extLst>
              <a:ext uri="{FF2B5EF4-FFF2-40B4-BE49-F238E27FC236}">
                <a16:creationId xmlns:a16="http://schemas.microsoft.com/office/drawing/2014/main" id="{6461A5A5-AE60-3B54-1A8A-3A8DF630013E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1025" t="14561" r="11389" b="14089"/>
          <a:stretch/>
        </p:blipFill>
        <p:spPr>
          <a:xfrm>
            <a:off x="6891902" y="2834392"/>
            <a:ext cx="1672332" cy="1189216"/>
          </a:xfrm>
          <a:prstGeom prst="roundRect">
            <a:avLst/>
          </a:prstGeom>
        </p:spPr>
      </p:pic>
      <p:sp>
        <p:nvSpPr>
          <p:cNvPr id="14" name="Rectangle : coins arrondis 20">
            <a:extLst>
              <a:ext uri="{FF2B5EF4-FFF2-40B4-BE49-F238E27FC236}">
                <a16:creationId xmlns:a16="http://schemas.microsoft.com/office/drawing/2014/main" id="{5874B16D-0CBC-8597-DDD6-B241A0C7904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717487" y="4872732"/>
            <a:ext cx="1613040" cy="419617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1600" b="1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قلم اللبد أو الطبشور</a:t>
            </a:r>
            <a:endParaRPr lang="fr-FR" sz="1600" b="1">
              <a:solidFill>
                <a:srgbClr val="4BACC6">
                  <a:lumMod val="50000"/>
                </a:srgb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5" name="Rectangle : coins arrondis 20">
            <a:extLst>
              <a:ext uri="{FF2B5EF4-FFF2-40B4-BE49-F238E27FC236}">
                <a16:creationId xmlns:a16="http://schemas.microsoft.com/office/drawing/2014/main" id="{A033ACBB-0612-EFC5-2C22-07304858017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017775" y="4872732"/>
            <a:ext cx="1518287" cy="419617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1600" b="1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اللوحة</a:t>
            </a:r>
            <a:endParaRPr lang="fr-FR" sz="1600" b="1">
              <a:solidFill>
                <a:srgbClr val="4BACC6">
                  <a:lumMod val="50000"/>
                </a:srgb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16" name="Image 15" descr="Une image contenant texte, fournitures de bureau&#10;&#10;Description générée automatiquement">
            <a:extLst>
              <a:ext uri="{FF2B5EF4-FFF2-40B4-BE49-F238E27FC236}">
                <a16:creationId xmlns:a16="http://schemas.microsoft.com/office/drawing/2014/main" id="{2EB2A14A-31E1-A88E-5237-66FA0BB405C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1"/>
              </a:ext>
            </a:extLst>
          </a:blip>
          <a:stretch>
            <a:fillRect/>
          </a:stretch>
        </p:blipFill>
        <p:spPr>
          <a:xfrm>
            <a:off x="4935482" y="2130810"/>
            <a:ext cx="1186128" cy="1422257"/>
          </a:xfrm>
          <a:prstGeom prst="rect">
            <a:avLst/>
          </a:prstGeom>
        </p:spPr>
      </p:pic>
      <p:pic>
        <p:nvPicPr>
          <p:cNvPr id="27" name="Picture 2" descr="صور قلم رصاص PNG الصور | ناقل و PSD الملفات | تحميل مجاني على Pngtree">
            <a:extLst>
              <a:ext uri="{FF2B5EF4-FFF2-40B4-BE49-F238E27FC236}">
                <a16:creationId xmlns:a16="http://schemas.microsoft.com/office/drawing/2014/main" id="{CC0B3418-6F43-A1EE-0FB7-F0D1D1E658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261" y="3045879"/>
            <a:ext cx="1444578" cy="1444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Image 28">
            <a:extLst>
              <a:ext uri="{FF2B5EF4-FFF2-40B4-BE49-F238E27FC236}">
                <a16:creationId xmlns:a16="http://schemas.microsoft.com/office/drawing/2014/main" id="{F7E76810-316B-6443-7DEA-57357E23849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97726" y="756815"/>
            <a:ext cx="917463" cy="806256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62001E22-9A92-92A0-B9BC-9E14B3EDFE1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823919" y="3553067"/>
            <a:ext cx="1400175" cy="1247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99034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C75046-D327-CBCA-5FD2-A7FA559A8F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2F7C0A4B-B1F0-ABD8-D604-EA7FE6BF6440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5555" b="-5555"/>
            </a:stretch>
          </a:blipFill>
        </p:spPr>
        <p:txBody>
          <a:bodyPr/>
          <a:lstStyle/>
          <a:p>
            <a:pPr defTabSz="609660">
              <a:defRPr/>
            </a:pPr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Ellipse 62">
            <a:extLst>
              <a:ext uri="{FF2B5EF4-FFF2-40B4-BE49-F238E27FC236}">
                <a16:creationId xmlns:a16="http://schemas.microsoft.com/office/drawing/2014/main" id="{D7083EFA-4931-086B-4677-E559A61DC1E2}"/>
              </a:ext>
            </a:extLst>
          </p:cNvPr>
          <p:cNvSpPr/>
          <p:nvPr/>
        </p:nvSpPr>
        <p:spPr>
          <a:xfrm>
            <a:off x="1196648" y="46409"/>
            <a:ext cx="6811591" cy="6811591"/>
          </a:xfrm>
          <a:prstGeom prst="ellipse">
            <a:avLst/>
          </a:prstGeom>
          <a:solidFill>
            <a:srgbClr val="D6E9EA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F7B80CEE-EF85-F60C-1AD2-8ACD885F40CD}"/>
              </a:ext>
            </a:extLst>
          </p:cNvPr>
          <p:cNvSpPr txBox="1"/>
          <p:nvPr/>
        </p:nvSpPr>
        <p:spPr>
          <a:xfrm>
            <a:off x="1380413" y="2667001"/>
            <a:ext cx="6444063" cy="6779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60" rtl="1">
              <a:lnSpc>
                <a:spcPts val="5486"/>
              </a:lnSpc>
              <a:defRPr/>
            </a:pPr>
            <a:r>
              <a:rPr lang="ar-MA" sz="4400" b="1" dirty="0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. أنشطة تمهيدية 1/3 </a:t>
            </a:r>
            <a:endParaRPr lang="ar-MA" sz="1600" b="1" dirty="0">
              <a:solidFill>
                <a:srgbClr val="106585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BF2ECF8D-27F6-F5DD-06AA-B8EF94921124}"/>
              </a:ext>
            </a:extLst>
          </p:cNvPr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60966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858F755C-F06E-B25D-B5A7-240CFF8CEA67}"/>
              </a:ext>
            </a:extLst>
          </p:cNvPr>
          <p:cNvSpPr/>
          <p:nvPr/>
        </p:nvSpPr>
        <p:spPr>
          <a:xfrm>
            <a:off x="7804156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60966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D62EDB2A-6233-5C90-30CD-C686608A86D1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923928" y="3717032"/>
            <a:ext cx="1472378" cy="218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2538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Image 32">
            <a:extLst>
              <a:ext uri="{FF2B5EF4-FFF2-40B4-BE49-F238E27FC236}">
                <a16:creationId xmlns:a16="http://schemas.microsoft.com/office/drawing/2014/main" id="{E2CC31C0-7DE8-D83D-E821-170A23E43BB1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8616CE26-0DA5-D986-849B-9EC635F5EE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16CE26-0DA5-D986-849B-9EC635F5EE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e 10">
            <a:extLst>
              <a:ext uri="{FF2B5EF4-FFF2-40B4-BE49-F238E27FC236}">
                <a16:creationId xmlns:a16="http://schemas.microsoft.com/office/drawing/2014/main" id="{B04C4723-0832-395A-B2CF-FDEF6E3422E5}"/>
              </a:ext>
            </a:extLst>
          </p:cNvPr>
          <p:cNvGrpSpPr/>
          <p:nvPr/>
        </p:nvGrpSpPr>
        <p:grpSpPr>
          <a:xfrm>
            <a:off x="312517" y="227367"/>
            <a:ext cx="8518967" cy="5721914"/>
            <a:chOff x="312517" y="227366"/>
            <a:chExt cx="8518967" cy="6196583"/>
          </a:xfrm>
        </p:grpSpPr>
        <p:sp>
          <p:nvSpPr>
            <p:cNvPr id="12" name="Rectangle : coins arrondis 11">
              <a:extLst>
                <a:ext uri="{FF2B5EF4-FFF2-40B4-BE49-F238E27FC236}">
                  <a16:creationId xmlns:a16="http://schemas.microsoft.com/office/drawing/2014/main" id="{521521AE-4D95-B8E0-D95B-D5F26EA1422F}"/>
                </a:ext>
              </a:extLst>
            </p:cNvPr>
            <p:cNvSpPr/>
            <p:nvPr/>
          </p:nvSpPr>
          <p:spPr>
            <a:xfrm>
              <a:off x="312517" y="636608"/>
              <a:ext cx="8518967" cy="5787341"/>
            </a:xfrm>
            <a:prstGeom prst="roundRect">
              <a:avLst>
                <a:gd name="adj" fmla="val 2439"/>
              </a:avLst>
            </a:prstGeom>
            <a:solidFill>
              <a:srgbClr val="F4FAFA"/>
            </a:solidFill>
            <a:ln w="28575">
              <a:solidFill>
                <a:srgbClr val="00566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12E4E2BB-4F98-9EE0-C5E8-353633F4FD72}"/>
                </a:ext>
              </a:extLst>
            </p:cNvPr>
            <p:cNvSpPr/>
            <p:nvPr/>
          </p:nvSpPr>
          <p:spPr>
            <a:xfrm>
              <a:off x="625110" y="227366"/>
              <a:ext cx="622415" cy="562981"/>
            </a:xfrm>
            <a:custGeom>
              <a:avLst/>
              <a:gdLst/>
              <a:ahLst/>
              <a:cxnLst/>
              <a:rect l="l" t="t" r="r" b="b"/>
              <a:pathLst>
                <a:path w="1239167" h="1189600">
                  <a:moveTo>
                    <a:pt x="0" y="0"/>
                  </a:moveTo>
                  <a:lnTo>
                    <a:pt x="1239167" y="0"/>
                  </a:lnTo>
                  <a:lnTo>
                    <a:pt x="1239167" y="1189600"/>
                  </a:lnTo>
                  <a:lnTo>
                    <a:pt x="0" y="11896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fr-MA" sz="428" dirty="0">
                <a:latin typeface="Dosis" pitchFamily="2" charset="0"/>
              </a:endParaRPr>
            </a:p>
          </p:txBody>
        </p:sp>
        <p:sp>
          <p:nvSpPr>
            <p:cNvPr id="16" name="Rectangle : coins arrondis 15">
              <a:extLst>
                <a:ext uri="{FF2B5EF4-FFF2-40B4-BE49-F238E27FC236}">
                  <a16:creationId xmlns:a16="http://schemas.microsoft.com/office/drawing/2014/main" id="{7D9FAAEA-8042-FC08-9E0D-CFD54ACD4918}"/>
                </a:ext>
              </a:extLst>
            </p:cNvPr>
            <p:cNvSpPr/>
            <p:nvPr/>
          </p:nvSpPr>
          <p:spPr>
            <a:xfrm flipH="1" flipV="1">
              <a:off x="2253541" y="368699"/>
              <a:ext cx="4636919" cy="532201"/>
            </a:xfrm>
            <a:prstGeom prst="roundRect">
              <a:avLst>
                <a:gd name="adj" fmla="val 50000"/>
              </a:avLst>
            </a:prstGeom>
            <a:solidFill>
              <a:srgbClr val="005664"/>
            </a:solidFill>
            <a:ln w="13658" cap="flat">
              <a:solidFill>
                <a:srgbClr val="005664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ir Strip Arabic" panose="02000500000000000000" pitchFamily="2" charset="-78"/>
                <a:cs typeface="Air Strip Arabic" panose="02000500000000000000" pitchFamily="2" charset="-78"/>
              </a:endParaRPr>
            </a:p>
          </p:txBody>
        </p:sp>
      </p:grpSp>
      <p:sp>
        <p:nvSpPr>
          <p:cNvPr id="17" name="Ellipse 16">
            <a:extLst>
              <a:ext uri="{FF2B5EF4-FFF2-40B4-BE49-F238E27FC236}">
                <a16:creationId xmlns:a16="http://schemas.microsoft.com/office/drawing/2014/main" id="{84A1EA02-FEA0-ECF6-2E10-88DD56FBF757}"/>
              </a:ext>
            </a:extLst>
          </p:cNvPr>
          <p:cNvSpPr/>
          <p:nvPr/>
        </p:nvSpPr>
        <p:spPr>
          <a:xfrm>
            <a:off x="7174889" y="1614406"/>
            <a:ext cx="1151822" cy="115182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A9791B8E-F478-BFE1-671F-D2529FD0BDF1}"/>
              </a:ext>
            </a:extLst>
          </p:cNvPr>
          <p:cNvSpPr/>
          <p:nvPr/>
        </p:nvSpPr>
        <p:spPr>
          <a:xfrm>
            <a:off x="7174889" y="3067961"/>
            <a:ext cx="1151822" cy="115182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AE55CBFA-6ECE-120A-6C16-388B8DE3D3CF}"/>
              </a:ext>
            </a:extLst>
          </p:cNvPr>
          <p:cNvSpPr/>
          <p:nvPr/>
        </p:nvSpPr>
        <p:spPr>
          <a:xfrm>
            <a:off x="7174889" y="4521515"/>
            <a:ext cx="1151822" cy="115182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0" name="Graphique 19">
            <a:extLst>
              <a:ext uri="{FF2B5EF4-FFF2-40B4-BE49-F238E27FC236}">
                <a16:creationId xmlns:a16="http://schemas.microsoft.com/office/drawing/2014/main" id="{C6AE5DDE-D6F9-39C7-C0C3-0B8A07CE2E0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7257431" y="3213466"/>
            <a:ext cx="856766" cy="817895"/>
          </a:xfrm>
          <a:prstGeom prst="rect">
            <a:avLst/>
          </a:prstGeom>
        </p:spPr>
      </p:pic>
      <p:sp>
        <p:nvSpPr>
          <p:cNvPr id="21" name="Freeform 7">
            <a:extLst>
              <a:ext uri="{FF2B5EF4-FFF2-40B4-BE49-F238E27FC236}">
                <a16:creationId xmlns:a16="http://schemas.microsoft.com/office/drawing/2014/main" id="{539BDA4D-467F-4C0A-A10C-1D013A5D9799}"/>
              </a:ext>
            </a:extLst>
          </p:cNvPr>
          <p:cNvSpPr/>
          <p:nvPr/>
        </p:nvSpPr>
        <p:spPr>
          <a:xfrm>
            <a:off x="7464538" y="1898419"/>
            <a:ext cx="622415" cy="562981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fr-MA" sz="428" dirty="0">
              <a:latin typeface="Dosis" pitchFamily="2" charset="0"/>
            </a:endParaRPr>
          </a:p>
        </p:txBody>
      </p:sp>
      <p:sp>
        <p:nvSpPr>
          <p:cNvPr id="22" name="Forme libre : forme 21">
            <a:extLst>
              <a:ext uri="{FF2B5EF4-FFF2-40B4-BE49-F238E27FC236}">
                <a16:creationId xmlns:a16="http://schemas.microsoft.com/office/drawing/2014/main" id="{7A5D440B-7684-07A7-F9D5-CFE97465E01E}"/>
              </a:ext>
            </a:extLst>
          </p:cNvPr>
          <p:cNvSpPr/>
          <p:nvPr/>
        </p:nvSpPr>
        <p:spPr>
          <a:xfrm>
            <a:off x="6389870" y="2118952"/>
            <a:ext cx="545261" cy="142730"/>
          </a:xfrm>
          <a:custGeom>
            <a:avLst/>
            <a:gdLst>
              <a:gd name="connsiteX0" fmla="*/ 200331 w 1140257"/>
              <a:gd name="connsiteY0" fmla="*/ 182213 h 298478"/>
              <a:gd name="connsiteX1" fmla="*/ 291200 w 1140257"/>
              <a:gd name="connsiteY1" fmla="*/ 234982 h 298478"/>
              <a:gd name="connsiteX2" fmla="*/ 318346 w 1140257"/>
              <a:gd name="connsiteY2" fmla="*/ 252031 h 298478"/>
              <a:gd name="connsiteX3" fmla="*/ 337967 w 1140257"/>
              <a:gd name="connsiteY3" fmla="*/ 287941 h 298478"/>
              <a:gd name="connsiteX4" fmla="*/ 296534 w 1140257"/>
              <a:gd name="connsiteY4" fmla="*/ 293179 h 298478"/>
              <a:gd name="connsiteX5" fmla="*/ 254338 w 1140257"/>
              <a:gd name="connsiteY5" fmla="*/ 275558 h 298478"/>
              <a:gd name="connsiteX6" fmla="*/ 69172 w 1140257"/>
              <a:gd name="connsiteY6" fmla="*/ 184975 h 298478"/>
              <a:gd name="connsiteX7" fmla="*/ 21737 w 1140257"/>
              <a:gd name="connsiteY7" fmla="*/ 157543 h 298478"/>
              <a:gd name="connsiteX8" fmla="*/ 26595 w 1140257"/>
              <a:gd name="connsiteY8" fmla="*/ 94488 h 298478"/>
              <a:gd name="connsiteX9" fmla="*/ 163088 w 1140257"/>
              <a:gd name="connsiteY9" fmla="*/ 29337 h 298478"/>
              <a:gd name="connsiteX10" fmla="*/ 221858 w 1140257"/>
              <a:gd name="connsiteY10" fmla="*/ 3810 h 298478"/>
              <a:gd name="connsiteX11" fmla="*/ 259196 w 1140257"/>
              <a:gd name="connsiteY11" fmla="*/ 0 h 298478"/>
              <a:gd name="connsiteX12" fmla="*/ 234145 w 1140257"/>
              <a:gd name="connsiteY12" fmla="*/ 39243 h 298478"/>
              <a:gd name="connsiteX13" fmla="*/ 132799 w 1140257"/>
              <a:gd name="connsiteY13" fmla="*/ 92773 h 298478"/>
              <a:gd name="connsiteX14" fmla="*/ 97651 w 1140257"/>
              <a:gd name="connsiteY14" fmla="*/ 120872 h 298478"/>
              <a:gd name="connsiteX15" fmla="*/ 147943 w 1140257"/>
              <a:gd name="connsiteY15" fmla="*/ 126397 h 298478"/>
              <a:gd name="connsiteX16" fmla="*/ 532658 w 1140257"/>
              <a:gd name="connsiteY16" fmla="*/ 146685 h 298478"/>
              <a:gd name="connsiteX17" fmla="*/ 1091395 w 1140257"/>
              <a:gd name="connsiteY17" fmla="*/ 175831 h 298478"/>
              <a:gd name="connsiteX18" fmla="*/ 1140258 w 1140257"/>
              <a:gd name="connsiteY18" fmla="*/ 187547 h 298478"/>
              <a:gd name="connsiteX19" fmla="*/ 1086632 w 1140257"/>
              <a:gd name="connsiteY19" fmla="*/ 206978 h 298478"/>
              <a:gd name="connsiteX20" fmla="*/ 811550 w 1140257"/>
              <a:gd name="connsiteY20" fmla="*/ 198120 h 298478"/>
              <a:gd name="connsiteX21" fmla="*/ 220238 w 1140257"/>
              <a:gd name="connsiteY21" fmla="*/ 178213 h 298478"/>
              <a:gd name="connsiteX22" fmla="*/ 200331 w 1140257"/>
              <a:gd name="connsiteY22" fmla="*/ 182213 h 298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140257" h="298478">
                <a:moveTo>
                  <a:pt x="200331" y="182213"/>
                </a:moveTo>
                <a:cubicBezTo>
                  <a:pt x="236431" y="203168"/>
                  <a:pt x="263863" y="218980"/>
                  <a:pt x="291200" y="234982"/>
                </a:cubicBezTo>
                <a:cubicBezTo>
                  <a:pt x="300439" y="240411"/>
                  <a:pt x="309868" y="245650"/>
                  <a:pt x="318346" y="252031"/>
                </a:cubicBezTo>
                <a:cubicBezTo>
                  <a:pt x="330252" y="260985"/>
                  <a:pt x="347778" y="269938"/>
                  <a:pt x="337967" y="287941"/>
                </a:cubicBezTo>
                <a:cubicBezTo>
                  <a:pt x="328728" y="304895"/>
                  <a:pt x="310630" y="297275"/>
                  <a:pt x="296534" y="293179"/>
                </a:cubicBezTo>
                <a:cubicBezTo>
                  <a:pt x="281960" y="288988"/>
                  <a:pt x="268054" y="282226"/>
                  <a:pt x="254338" y="275558"/>
                </a:cubicBezTo>
                <a:cubicBezTo>
                  <a:pt x="192521" y="245650"/>
                  <a:pt x="130703" y="215551"/>
                  <a:pt x="69172" y="184975"/>
                </a:cubicBezTo>
                <a:cubicBezTo>
                  <a:pt x="52789" y="176879"/>
                  <a:pt x="36120" y="168592"/>
                  <a:pt x="21737" y="157543"/>
                </a:cubicBezTo>
                <a:cubicBezTo>
                  <a:pt x="-8648" y="134207"/>
                  <a:pt x="-7314" y="112014"/>
                  <a:pt x="26595" y="94488"/>
                </a:cubicBezTo>
                <a:cubicBezTo>
                  <a:pt x="71363" y="71342"/>
                  <a:pt x="117463" y="50768"/>
                  <a:pt x="163088" y="29337"/>
                </a:cubicBezTo>
                <a:cubicBezTo>
                  <a:pt x="182424" y="20288"/>
                  <a:pt x="201760" y="10668"/>
                  <a:pt x="221858" y="3810"/>
                </a:cubicBezTo>
                <a:cubicBezTo>
                  <a:pt x="233288" y="-95"/>
                  <a:pt x="246337" y="1143"/>
                  <a:pt x="259196" y="0"/>
                </a:cubicBezTo>
                <a:cubicBezTo>
                  <a:pt x="262625" y="26670"/>
                  <a:pt x="247480" y="32290"/>
                  <a:pt x="234145" y="39243"/>
                </a:cubicBezTo>
                <a:cubicBezTo>
                  <a:pt x="200331" y="57055"/>
                  <a:pt x="166517" y="74771"/>
                  <a:pt x="132799" y="92773"/>
                </a:cubicBezTo>
                <a:cubicBezTo>
                  <a:pt x="120892" y="99155"/>
                  <a:pt x="109367" y="106108"/>
                  <a:pt x="97651" y="120872"/>
                </a:cubicBezTo>
                <a:cubicBezTo>
                  <a:pt x="114416" y="122777"/>
                  <a:pt x="131084" y="125539"/>
                  <a:pt x="147943" y="126397"/>
                </a:cubicBezTo>
                <a:cubicBezTo>
                  <a:pt x="276150" y="133350"/>
                  <a:pt x="404452" y="140113"/>
                  <a:pt x="532658" y="146685"/>
                </a:cubicBezTo>
                <a:cubicBezTo>
                  <a:pt x="718872" y="156305"/>
                  <a:pt x="905181" y="165640"/>
                  <a:pt x="1091395" y="175831"/>
                </a:cubicBezTo>
                <a:cubicBezTo>
                  <a:pt x="1106540" y="176689"/>
                  <a:pt x="1121399" y="182880"/>
                  <a:pt x="1140258" y="187547"/>
                </a:cubicBezTo>
                <a:cubicBezTo>
                  <a:pt x="1123208" y="213169"/>
                  <a:pt x="1103396" y="207454"/>
                  <a:pt x="1086632" y="206978"/>
                </a:cubicBezTo>
                <a:cubicBezTo>
                  <a:pt x="994906" y="204597"/>
                  <a:pt x="903276" y="201168"/>
                  <a:pt x="811550" y="198120"/>
                </a:cubicBezTo>
                <a:cubicBezTo>
                  <a:pt x="614478" y="191452"/>
                  <a:pt x="417310" y="184785"/>
                  <a:pt x="220238" y="178213"/>
                </a:cubicBezTo>
                <a:cubicBezTo>
                  <a:pt x="217381" y="178308"/>
                  <a:pt x="214428" y="179451"/>
                  <a:pt x="200331" y="182213"/>
                </a:cubicBezTo>
                <a:close/>
              </a:path>
            </a:pathLst>
          </a:custGeom>
          <a:solidFill>
            <a:srgbClr val="1E3F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24" name="Forme libre : forme 23">
            <a:extLst>
              <a:ext uri="{FF2B5EF4-FFF2-40B4-BE49-F238E27FC236}">
                <a16:creationId xmlns:a16="http://schemas.microsoft.com/office/drawing/2014/main" id="{00D0D59D-7954-D6D4-97EF-85D7D958BCE0}"/>
              </a:ext>
            </a:extLst>
          </p:cNvPr>
          <p:cNvSpPr/>
          <p:nvPr/>
        </p:nvSpPr>
        <p:spPr>
          <a:xfrm>
            <a:off x="6389870" y="3572507"/>
            <a:ext cx="545261" cy="142730"/>
          </a:xfrm>
          <a:custGeom>
            <a:avLst/>
            <a:gdLst>
              <a:gd name="connsiteX0" fmla="*/ 200331 w 1140257"/>
              <a:gd name="connsiteY0" fmla="*/ 182213 h 298478"/>
              <a:gd name="connsiteX1" fmla="*/ 291200 w 1140257"/>
              <a:gd name="connsiteY1" fmla="*/ 234982 h 298478"/>
              <a:gd name="connsiteX2" fmla="*/ 318346 w 1140257"/>
              <a:gd name="connsiteY2" fmla="*/ 252031 h 298478"/>
              <a:gd name="connsiteX3" fmla="*/ 337967 w 1140257"/>
              <a:gd name="connsiteY3" fmla="*/ 287941 h 298478"/>
              <a:gd name="connsiteX4" fmla="*/ 296534 w 1140257"/>
              <a:gd name="connsiteY4" fmla="*/ 293179 h 298478"/>
              <a:gd name="connsiteX5" fmla="*/ 254338 w 1140257"/>
              <a:gd name="connsiteY5" fmla="*/ 275558 h 298478"/>
              <a:gd name="connsiteX6" fmla="*/ 69172 w 1140257"/>
              <a:gd name="connsiteY6" fmla="*/ 184975 h 298478"/>
              <a:gd name="connsiteX7" fmla="*/ 21737 w 1140257"/>
              <a:gd name="connsiteY7" fmla="*/ 157543 h 298478"/>
              <a:gd name="connsiteX8" fmla="*/ 26595 w 1140257"/>
              <a:gd name="connsiteY8" fmla="*/ 94488 h 298478"/>
              <a:gd name="connsiteX9" fmla="*/ 163088 w 1140257"/>
              <a:gd name="connsiteY9" fmla="*/ 29337 h 298478"/>
              <a:gd name="connsiteX10" fmla="*/ 221858 w 1140257"/>
              <a:gd name="connsiteY10" fmla="*/ 3810 h 298478"/>
              <a:gd name="connsiteX11" fmla="*/ 259196 w 1140257"/>
              <a:gd name="connsiteY11" fmla="*/ 0 h 298478"/>
              <a:gd name="connsiteX12" fmla="*/ 234145 w 1140257"/>
              <a:gd name="connsiteY12" fmla="*/ 39243 h 298478"/>
              <a:gd name="connsiteX13" fmla="*/ 132799 w 1140257"/>
              <a:gd name="connsiteY13" fmla="*/ 92773 h 298478"/>
              <a:gd name="connsiteX14" fmla="*/ 97651 w 1140257"/>
              <a:gd name="connsiteY14" fmla="*/ 120872 h 298478"/>
              <a:gd name="connsiteX15" fmla="*/ 147943 w 1140257"/>
              <a:gd name="connsiteY15" fmla="*/ 126397 h 298478"/>
              <a:gd name="connsiteX16" fmla="*/ 532658 w 1140257"/>
              <a:gd name="connsiteY16" fmla="*/ 146685 h 298478"/>
              <a:gd name="connsiteX17" fmla="*/ 1091395 w 1140257"/>
              <a:gd name="connsiteY17" fmla="*/ 175831 h 298478"/>
              <a:gd name="connsiteX18" fmla="*/ 1140258 w 1140257"/>
              <a:gd name="connsiteY18" fmla="*/ 187547 h 298478"/>
              <a:gd name="connsiteX19" fmla="*/ 1086632 w 1140257"/>
              <a:gd name="connsiteY19" fmla="*/ 206978 h 298478"/>
              <a:gd name="connsiteX20" fmla="*/ 811550 w 1140257"/>
              <a:gd name="connsiteY20" fmla="*/ 198120 h 298478"/>
              <a:gd name="connsiteX21" fmla="*/ 220238 w 1140257"/>
              <a:gd name="connsiteY21" fmla="*/ 178213 h 298478"/>
              <a:gd name="connsiteX22" fmla="*/ 200331 w 1140257"/>
              <a:gd name="connsiteY22" fmla="*/ 182213 h 298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140257" h="298478">
                <a:moveTo>
                  <a:pt x="200331" y="182213"/>
                </a:moveTo>
                <a:cubicBezTo>
                  <a:pt x="236431" y="203168"/>
                  <a:pt x="263863" y="218980"/>
                  <a:pt x="291200" y="234982"/>
                </a:cubicBezTo>
                <a:cubicBezTo>
                  <a:pt x="300439" y="240411"/>
                  <a:pt x="309868" y="245650"/>
                  <a:pt x="318346" y="252031"/>
                </a:cubicBezTo>
                <a:cubicBezTo>
                  <a:pt x="330252" y="260985"/>
                  <a:pt x="347778" y="269938"/>
                  <a:pt x="337967" y="287941"/>
                </a:cubicBezTo>
                <a:cubicBezTo>
                  <a:pt x="328728" y="304895"/>
                  <a:pt x="310630" y="297275"/>
                  <a:pt x="296534" y="293179"/>
                </a:cubicBezTo>
                <a:cubicBezTo>
                  <a:pt x="281960" y="288988"/>
                  <a:pt x="268054" y="282226"/>
                  <a:pt x="254338" y="275558"/>
                </a:cubicBezTo>
                <a:cubicBezTo>
                  <a:pt x="192521" y="245650"/>
                  <a:pt x="130703" y="215551"/>
                  <a:pt x="69172" y="184975"/>
                </a:cubicBezTo>
                <a:cubicBezTo>
                  <a:pt x="52789" y="176879"/>
                  <a:pt x="36120" y="168592"/>
                  <a:pt x="21737" y="157543"/>
                </a:cubicBezTo>
                <a:cubicBezTo>
                  <a:pt x="-8648" y="134207"/>
                  <a:pt x="-7314" y="112014"/>
                  <a:pt x="26595" y="94488"/>
                </a:cubicBezTo>
                <a:cubicBezTo>
                  <a:pt x="71363" y="71342"/>
                  <a:pt x="117463" y="50768"/>
                  <a:pt x="163088" y="29337"/>
                </a:cubicBezTo>
                <a:cubicBezTo>
                  <a:pt x="182424" y="20288"/>
                  <a:pt x="201760" y="10668"/>
                  <a:pt x="221858" y="3810"/>
                </a:cubicBezTo>
                <a:cubicBezTo>
                  <a:pt x="233288" y="-95"/>
                  <a:pt x="246337" y="1143"/>
                  <a:pt x="259196" y="0"/>
                </a:cubicBezTo>
                <a:cubicBezTo>
                  <a:pt x="262625" y="26670"/>
                  <a:pt x="247480" y="32290"/>
                  <a:pt x="234145" y="39243"/>
                </a:cubicBezTo>
                <a:cubicBezTo>
                  <a:pt x="200331" y="57055"/>
                  <a:pt x="166517" y="74771"/>
                  <a:pt x="132799" y="92773"/>
                </a:cubicBezTo>
                <a:cubicBezTo>
                  <a:pt x="120892" y="99155"/>
                  <a:pt x="109367" y="106108"/>
                  <a:pt x="97651" y="120872"/>
                </a:cubicBezTo>
                <a:cubicBezTo>
                  <a:pt x="114416" y="122777"/>
                  <a:pt x="131084" y="125539"/>
                  <a:pt x="147943" y="126397"/>
                </a:cubicBezTo>
                <a:cubicBezTo>
                  <a:pt x="276150" y="133350"/>
                  <a:pt x="404452" y="140113"/>
                  <a:pt x="532658" y="146685"/>
                </a:cubicBezTo>
                <a:cubicBezTo>
                  <a:pt x="718872" y="156305"/>
                  <a:pt x="905181" y="165640"/>
                  <a:pt x="1091395" y="175831"/>
                </a:cubicBezTo>
                <a:cubicBezTo>
                  <a:pt x="1106540" y="176689"/>
                  <a:pt x="1121399" y="182880"/>
                  <a:pt x="1140258" y="187547"/>
                </a:cubicBezTo>
                <a:cubicBezTo>
                  <a:pt x="1123208" y="213169"/>
                  <a:pt x="1103396" y="207454"/>
                  <a:pt x="1086632" y="206978"/>
                </a:cubicBezTo>
                <a:cubicBezTo>
                  <a:pt x="994906" y="204597"/>
                  <a:pt x="903276" y="201168"/>
                  <a:pt x="811550" y="198120"/>
                </a:cubicBezTo>
                <a:cubicBezTo>
                  <a:pt x="614478" y="191452"/>
                  <a:pt x="417310" y="184785"/>
                  <a:pt x="220238" y="178213"/>
                </a:cubicBezTo>
                <a:cubicBezTo>
                  <a:pt x="217381" y="178308"/>
                  <a:pt x="214428" y="179451"/>
                  <a:pt x="200331" y="182213"/>
                </a:cubicBezTo>
                <a:close/>
              </a:path>
            </a:pathLst>
          </a:custGeom>
          <a:solidFill>
            <a:srgbClr val="1E3F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25" name="Forme libre : forme 24">
            <a:extLst>
              <a:ext uri="{FF2B5EF4-FFF2-40B4-BE49-F238E27FC236}">
                <a16:creationId xmlns:a16="http://schemas.microsoft.com/office/drawing/2014/main" id="{03B2BC96-11A0-F6EC-BFA4-C1AD08BCFBB5}"/>
              </a:ext>
            </a:extLst>
          </p:cNvPr>
          <p:cNvSpPr/>
          <p:nvPr/>
        </p:nvSpPr>
        <p:spPr>
          <a:xfrm>
            <a:off x="6389870" y="5026061"/>
            <a:ext cx="545261" cy="142730"/>
          </a:xfrm>
          <a:custGeom>
            <a:avLst/>
            <a:gdLst>
              <a:gd name="connsiteX0" fmla="*/ 200331 w 1140257"/>
              <a:gd name="connsiteY0" fmla="*/ 182213 h 298478"/>
              <a:gd name="connsiteX1" fmla="*/ 291200 w 1140257"/>
              <a:gd name="connsiteY1" fmla="*/ 234982 h 298478"/>
              <a:gd name="connsiteX2" fmla="*/ 318346 w 1140257"/>
              <a:gd name="connsiteY2" fmla="*/ 252031 h 298478"/>
              <a:gd name="connsiteX3" fmla="*/ 337967 w 1140257"/>
              <a:gd name="connsiteY3" fmla="*/ 287941 h 298478"/>
              <a:gd name="connsiteX4" fmla="*/ 296534 w 1140257"/>
              <a:gd name="connsiteY4" fmla="*/ 293179 h 298478"/>
              <a:gd name="connsiteX5" fmla="*/ 254338 w 1140257"/>
              <a:gd name="connsiteY5" fmla="*/ 275558 h 298478"/>
              <a:gd name="connsiteX6" fmla="*/ 69172 w 1140257"/>
              <a:gd name="connsiteY6" fmla="*/ 184975 h 298478"/>
              <a:gd name="connsiteX7" fmla="*/ 21737 w 1140257"/>
              <a:gd name="connsiteY7" fmla="*/ 157543 h 298478"/>
              <a:gd name="connsiteX8" fmla="*/ 26595 w 1140257"/>
              <a:gd name="connsiteY8" fmla="*/ 94488 h 298478"/>
              <a:gd name="connsiteX9" fmla="*/ 163088 w 1140257"/>
              <a:gd name="connsiteY9" fmla="*/ 29337 h 298478"/>
              <a:gd name="connsiteX10" fmla="*/ 221858 w 1140257"/>
              <a:gd name="connsiteY10" fmla="*/ 3810 h 298478"/>
              <a:gd name="connsiteX11" fmla="*/ 259196 w 1140257"/>
              <a:gd name="connsiteY11" fmla="*/ 0 h 298478"/>
              <a:gd name="connsiteX12" fmla="*/ 234145 w 1140257"/>
              <a:gd name="connsiteY12" fmla="*/ 39243 h 298478"/>
              <a:gd name="connsiteX13" fmla="*/ 132799 w 1140257"/>
              <a:gd name="connsiteY13" fmla="*/ 92773 h 298478"/>
              <a:gd name="connsiteX14" fmla="*/ 97651 w 1140257"/>
              <a:gd name="connsiteY14" fmla="*/ 120872 h 298478"/>
              <a:gd name="connsiteX15" fmla="*/ 147943 w 1140257"/>
              <a:gd name="connsiteY15" fmla="*/ 126397 h 298478"/>
              <a:gd name="connsiteX16" fmla="*/ 532658 w 1140257"/>
              <a:gd name="connsiteY16" fmla="*/ 146685 h 298478"/>
              <a:gd name="connsiteX17" fmla="*/ 1091395 w 1140257"/>
              <a:gd name="connsiteY17" fmla="*/ 175831 h 298478"/>
              <a:gd name="connsiteX18" fmla="*/ 1140258 w 1140257"/>
              <a:gd name="connsiteY18" fmla="*/ 187547 h 298478"/>
              <a:gd name="connsiteX19" fmla="*/ 1086632 w 1140257"/>
              <a:gd name="connsiteY19" fmla="*/ 206978 h 298478"/>
              <a:gd name="connsiteX20" fmla="*/ 811550 w 1140257"/>
              <a:gd name="connsiteY20" fmla="*/ 198120 h 298478"/>
              <a:gd name="connsiteX21" fmla="*/ 220238 w 1140257"/>
              <a:gd name="connsiteY21" fmla="*/ 178213 h 298478"/>
              <a:gd name="connsiteX22" fmla="*/ 200331 w 1140257"/>
              <a:gd name="connsiteY22" fmla="*/ 182213 h 298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140257" h="298478">
                <a:moveTo>
                  <a:pt x="200331" y="182213"/>
                </a:moveTo>
                <a:cubicBezTo>
                  <a:pt x="236431" y="203168"/>
                  <a:pt x="263863" y="218980"/>
                  <a:pt x="291200" y="234982"/>
                </a:cubicBezTo>
                <a:cubicBezTo>
                  <a:pt x="300439" y="240411"/>
                  <a:pt x="309868" y="245650"/>
                  <a:pt x="318346" y="252031"/>
                </a:cubicBezTo>
                <a:cubicBezTo>
                  <a:pt x="330252" y="260985"/>
                  <a:pt x="347778" y="269938"/>
                  <a:pt x="337967" y="287941"/>
                </a:cubicBezTo>
                <a:cubicBezTo>
                  <a:pt x="328728" y="304895"/>
                  <a:pt x="310630" y="297275"/>
                  <a:pt x="296534" y="293179"/>
                </a:cubicBezTo>
                <a:cubicBezTo>
                  <a:pt x="281960" y="288988"/>
                  <a:pt x="268054" y="282226"/>
                  <a:pt x="254338" y="275558"/>
                </a:cubicBezTo>
                <a:cubicBezTo>
                  <a:pt x="192521" y="245650"/>
                  <a:pt x="130703" y="215551"/>
                  <a:pt x="69172" y="184975"/>
                </a:cubicBezTo>
                <a:cubicBezTo>
                  <a:pt x="52789" y="176879"/>
                  <a:pt x="36120" y="168592"/>
                  <a:pt x="21737" y="157543"/>
                </a:cubicBezTo>
                <a:cubicBezTo>
                  <a:pt x="-8648" y="134207"/>
                  <a:pt x="-7314" y="112014"/>
                  <a:pt x="26595" y="94488"/>
                </a:cubicBezTo>
                <a:cubicBezTo>
                  <a:pt x="71363" y="71342"/>
                  <a:pt x="117463" y="50768"/>
                  <a:pt x="163088" y="29337"/>
                </a:cubicBezTo>
                <a:cubicBezTo>
                  <a:pt x="182424" y="20288"/>
                  <a:pt x="201760" y="10668"/>
                  <a:pt x="221858" y="3810"/>
                </a:cubicBezTo>
                <a:cubicBezTo>
                  <a:pt x="233288" y="-95"/>
                  <a:pt x="246337" y="1143"/>
                  <a:pt x="259196" y="0"/>
                </a:cubicBezTo>
                <a:cubicBezTo>
                  <a:pt x="262625" y="26670"/>
                  <a:pt x="247480" y="32290"/>
                  <a:pt x="234145" y="39243"/>
                </a:cubicBezTo>
                <a:cubicBezTo>
                  <a:pt x="200331" y="57055"/>
                  <a:pt x="166517" y="74771"/>
                  <a:pt x="132799" y="92773"/>
                </a:cubicBezTo>
                <a:cubicBezTo>
                  <a:pt x="120892" y="99155"/>
                  <a:pt x="109367" y="106108"/>
                  <a:pt x="97651" y="120872"/>
                </a:cubicBezTo>
                <a:cubicBezTo>
                  <a:pt x="114416" y="122777"/>
                  <a:pt x="131084" y="125539"/>
                  <a:pt x="147943" y="126397"/>
                </a:cubicBezTo>
                <a:cubicBezTo>
                  <a:pt x="276150" y="133350"/>
                  <a:pt x="404452" y="140113"/>
                  <a:pt x="532658" y="146685"/>
                </a:cubicBezTo>
                <a:cubicBezTo>
                  <a:pt x="718872" y="156305"/>
                  <a:pt x="905181" y="165640"/>
                  <a:pt x="1091395" y="175831"/>
                </a:cubicBezTo>
                <a:cubicBezTo>
                  <a:pt x="1106540" y="176689"/>
                  <a:pt x="1121399" y="182880"/>
                  <a:pt x="1140258" y="187547"/>
                </a:cubicBezTo>
                <a:cubicBezTo>
                  <a:pt x="1123208" y="213169"/>
                  <a:pt x="1103396" y="207454"/>
                  <a:pt x="1086632" y="206978"/>
                </a:cubicBezTo>
                <a:cubicBezTo>
                  <a:pt x="994906" y="204597"/>
                  <a:pt x="903276" y="201168"/>
                  <a:pt x="811550" y="198120"/>
                </a:cubicBezTo>
                <a:cubicBezTo>
                  <a:pt x="614478" y="191452"/>
                  <a:pt x="417310" y="184785"/>
                  <a:pt x="220238" y="178213"/>
                </a:cubicBezTo>
                <a:cubicBezTo>
                  <a:pt x="217381" y="178308"/>
                  <a:pt x="214428" y="179451"/>
                  <a:pt x="200331" y="182213"/>
                </a:cubicBezTo>
                <a:close/>
              </a:path>
            </a:pathLst>
          </a:custGeom>
          <a:solidFill>
            <a:srgbClr val="1E3F4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DA4788B6-8049-A04E-CFB5-29D8260EDEC9}"/>
              </a:ext>
            </a:extLst>
          </p:cNvPr>
          <p:cNvSpPr/>
          <p:nvPr/>
        </p:nvSpPr>
        <p:spPr>
          <a:xfrm>
            <a:off x="817289" y="1949824"/>
            <a:ext cx="4973911" cy="48098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ar-MA" sz="22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شرائح خاصة بالأستاذ(ة)</a:t>
            </a:r>
            <a:endParaRPr kumimoji="0" lang="fr-FR" sz="2200" b="1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Rectangle : coins arrondis 26">
            <a:extLst>
              <a:ext uri="{FF2B5EF4-FFF2-40B4-BE49-F238E27FC236}">
                <a16:creationId xmlns:a16="http://schemas.microsoft.com/office/drawing/2014/main" id="{BDA5165D-B66C-8AB4-7F2E-C24C879C4443}"/>
              </a:ext>
            </a:extLst>
          </p:cNvPr>
          <p:cNvSpPr/>
          <p:nvPr/>
        </p:nvSpPr>
        <p:spPr>
          <a:xfrm>
            <a:off x="817289" y="4856933"/>
            <a:ext cx="4973911" cy="48098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AE" sz="2200" b="1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أمثلة على التوجيهات </a:t>
            </a:r>
            <a:r>
              <a:rPr lang="ar-MA" sz="2200" b="1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للأستاذ(ة)</a:t>
            </a:r>
            <a:endParaRPr lang="en-US" sz="2200" b="1" dirty="0">
              <a:solidFill>
                <a:srgbClr val="1F497D">
                  <a:lumMod val="50000"/>
                </a:srgb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F35DCF3D-3173-69AF-50AD-7F7B005BF988}"/>
              </a:ext>
            </a:extLst>
          </p:cNvPr>
          <p:cNvSpPr/>
          <p:nvPr/>
        </p:nvSpPr>
        <p:spPr>
          <a:xfrm>
            <a:off x="467544" y="3403379"/>
            <a:ext cx="5832647" cy="48098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MA" sz="2000" b="1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إرشادات للشروحات والتعليمات التي يجب على الأستاذ(ة) قولها</a:t>
            </a:r>
          </a:p>
        </p:txBody>
      </p:sp>
      <p:sp>
        <p:nvSpPr>
          <p:cNvPr id="29" name="ZoneTexte 5">
            <a:extLst>
              <a:ext uri="{FF2B5EF4-FFF2-40B4-BE49-F238E27FC236}">
                <a16:creationId xmlns:a16="http://schemas.microsoft.com/office/drawing/2014/main" id="{18E341A8-25B5-CCD0-4102-D1DE21A48A7E}"/>
              </a:ext>
            </a:extLst>
          </p:cNvPr>
          <p:cNvSpPr txBox="1"/>
          <p:nvPr/>
        </p:nvSpPr>
        <p:spPr>
          <a:xfrm>
            <a:off x="7398676" y="277065"/>
            <a:ext cx="14328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cs typeface="Microsoft Uighur" panose="02000000000000000000" pitchFamily="2" charset="-78"/>
              </a:rPr>
              <a:t>خاص بالأستاذ</a:t>
            </a:r>
            <a:endParaRPr kumimoji="0" lang="fr-MA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sp>
        <p:nvSpPr>
          <p:cNvPr id="30" name="TextBox 9">
            <a:extLst>
              <a:ext uri="{FF2B5EF4-FFF2-40B4-BE49-F238E27FC236}">
                <a16:creationId xmlns:a16="http://schemas.microsoft.com/office/drawing/2014/main" id="{2998D8A0-373E-CBC3-F39E-C85374E71F84}"/>
              </a:ext>
            </a:extLst>
          </p:cNvPr>
          <p:cNvSpPr txBox="1"/>
          <p:nvPr/>
        </p:nvSpPr>
        <p:spPr>
          <a:xfrm>
            <a:off x="2713389" y="554185"/>
            <a:ext cx="3717222" cy="30354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075"/>
              </a:lnSpc>
            </a:pPr>
            <a:r>
              <a:rPr lang="ar-MA" sz="30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توجيهات لاستعمال العرض </a:t>
            </a:r>
          </a:p>
        </p:txBody>
      </p:sp>
      <p:sp>
        <p:nvSpPr>
          <p:cNvPr id="31" name="ZoneTexte 22">
            <a:extLst>
              <a:ext uri="{FF2B5EF4-FFF2-40B4-BE49-F238E27FC236}">
                <a16:creationId xmlns:a16="http://schemas.microsoft.com/office/drawing/2014/main" id="{88659CF0-BA6E-C878-75EA-55C10A2045E0}"/>
              </a:ext>
            </a:extLst>
          </p:cNvPr>
          <p:cNvSpPr txBox="1"/>
          <p:nvPr/>
        </p:nvSpPr>
        <p:spPr>
          <a:xfrm>
            <a:off x="7174889" y="4743446"/>
            <a:ext cx="106279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0963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يقرأ المدرس الأرقام بإنشاد</a:t>
            </a:r>
            <a:endParaRPr kumimoji="0" lang="fr-FR" sz="160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2" name="Freeform 2">
            <a:extLst>
              <a:ext uri="{FF2B5EF4-FFF2-40B4-BE49-F238E27FC236}">
                <a16:creationId xmlns:a16="http://schemas.microsoft.com/office/drawing/2014/main" id="{32B7E36B-BF0C-EFFA-0A37-FCC534E30EF9}"/>
              </a:ext>
            </a:extLst>
          </p:cNvPr>
          <p:cNvSpPr/>
          <p:nvPr/>
        </p:nvSpPr>
        <p:spPr>
          <a:xfrm>
            <a:off x="-1229" y="5415088"/>
            <a:ext cx="1174020" cy="1455354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endParaRPr lang="fr-MA" sz="428" dirty="0">
              <a:latin typeface="Dosi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18254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9564605-AA2B-4345-BDCC-8949E02A8E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2D44C60C-E332-BCC0-8194-69C11A72BB90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Google Shape;462;p24">
            <a:extLst>
              <a:ext uri="{FF2B5EF4-FFF2-40B4-BE49-F238E27FC236}">
                <a16:creationId xmlns:a16="http://schemas.microsoft.com/office/drawing/2014/main" id="{B188CB11-9FE2-2A22-C350-B6425F9338BA}"/>
              </a:ext>
            </a:extLst>
          </p:cNvPr>
          <p:cNvSpPr txBox="1"/>
          <p:nvPr/>
        </p:nvSpPr>
        <p:spPr>
          <a:xfrm>
            <a:off x="1154747" y="562563"/>
            <a:ext cx="7315199" cy="338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انتبهوا. لدينا 4 كرات ... 4.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8544C735-E329-90F4-B18B-9B10FB40C35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9195" y="562563"/>
            <a:ext cx="983213" cy="1085493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8A2515EC-51F0-BD0C-0107-1E645095391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72573" y="3140968"/>
            <a:ext cx="1221462" cy="1237120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E93C7F30-5531-489E-FE4F-A792D322550E}"/>
              </a:ext>
            </a:extLst>
          </p:cNvPr>
          <p:cNvSpPr txBox="1"/>
          <p:nvPr/>
        </p:nvSpPr>
        <p:spPr>
          <a:xfrm>
            <a:off x="4321389" y="3131920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 dirty="0"/>
              <a:t>4</a:t>
            </a:r>
            <a:endParaRPr lang="fr-FR" sz="7200" dirty="0"/>
          </a:p>
        </p:txBody>
      </p:sp>
      <p:pic>
        <p:nvPicPr>
          <p:cNvPr id="8" name="Picture 4" descr="Sports Balls Images - Free Download on Freepik">
            <a:extLst>
              <a:ext uri="{FF2B5EF4-FFF2-40B4-BE49-F238E27FC236}">
                <a16:creationId xmlns:a16="http://schemas.microsoft.com/office/drawing/2014/main" id="{09EAD3A2-1159-9D76-7A1A-A633BA63491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4184" r="3406" b="63254"/>
          <a:stretch/>
        </p:blipFill>
        <p:spPr bwMode="auto">
          <a:xfrm>
            <a:off x="4231069" y="1775186"/>
            <a:ext cx="844947" cy="814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6" descr="Sports De Volley Ball PNG Images | Vecteurs Et Fichiers PSD |  Téléchargement Gratuit Sur Pngtree">
            <a:extLst>
              <a:ext uri="{FF2B5EF4-FFF2-40B4-BE49-F238E27FC236}">
                <a16:creationId xmlns:a16="http://schemas.microsoft.com/office/drawing/2014/main" id="{CC2F2290-22F8-AF65-4F9D-95695351433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788" r="32733" b="70631"/>
          <a:stretch/>
        </p:blipFill>
        <p:spPr bwMode="auto">
          <a:xfrm>
            <a:off x="5177513" y="1784234"/>
            <a:ext cx="953542" cy="814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Sports Balls Images - Free Download on Freepik">
            <a:extLst>
              <a:ext uri="{FF2B5EF4-FFF2-40B4-BE49-F238E27FC236}">
                <a16:creationId xmlns:a16="http://schemas.microsoft.com/office/drawing/2014/main" id="{F1685F51-FEC5-AA0C-B58E-0E294A0B57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4184" r="3406" b="63254"/>
          <a:stretch/>
        </p:blipFill>
        <p:spPr bwMode="auto">
          <a:xfrm>
            <a:off x="2845975" y="1775186"/>
            <a:ext cx="844947" cy="814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Sports Balls Images - Free Download on Freepik">
            <a:extLst>
              <a:ext uri="{FF2B5EF4-FFF2-40B4-BE49-F238E27FC236}">
                <a16:creationId xmlns:a16="http://schemas.microsoft.com/office/drawing/2014/main" id="{7FA20F4A-A9D0-83E8-BEE5-D25729497BB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4184" r="3406" b="63254"/>
          <a:stretch/>
        </p:blipFill>
        <p:spPr bwMode="auto">
          <a:xfrm>
            <a:off x="3538522" y="1767673"/>
            <a:ext cx="844947" cy="814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773821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D2DA985-23BF-6EE8-D755-39C10B46C0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ACE799F0-1912-10C6-0D7F-D4A46ADF9C5D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Google Shape;462;p24">
            <a:extLst>
              <a:ext uri="{FF2B5EF4-FFF2-40B4-BE49-F238E27FC236}">
                <a16:creationId xmlns:a16="http://schemas.microsoft.com/office/drawing/2014/main" id="{B1B50ABE-970F-C628-E5E3-226FBE2F65E3}"/>
              </a:ext>
            </a:extLst>
          </p:cNvPr>
          <p:cNvSpPr txBox="1"/>
          <p:nvPr/>
        </p:nvSpPr>
        <p:spPr>
          <a:xfrm>
            <a:off x="1154747" y="562563"/>
            <a:ext cx="7315199" cy="338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3 كرات تنس. أكتب 3 في الدائرة الحمراء.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488A7C25-090D-1302-2B77-B1B25583F57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9195" y="562563"/>
            <a:ext cx="983213" cy="108549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629DEBCA-E5D9-B164-7A4B-7A0944F8679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69209" y="3121634"/>
            <a:ext cx="3001988" cy="2652549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E5FE4F8E-ABF1-889C-CB4C-2F7B9B8CABBE}"/>
              </a:ext>
            </a:extLst>
          </p:cNvPr>
          <p:cNvSpPr txBox="1"/>
          <p:nvPr/>
        </p:nvSpPr>
        <p:spPr>
          <a:xfrm>
            <a:off x="4321389" y="3131920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 dirty="0"/>
              <a:t>4</a:t>
            </a:r>
            <a:endParaRPr lang="fr-FR" sz="7200" dirty="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F4AE635A-C9F9-A030-1675-6EAEBF00500E}"/>
              </a:ext>
            </a:extLst>
          </p:cNvPr>
          <p:cNvSpPr txBox="1"/>
          <p:nvPr/>
        </p:nvSpPr>
        <p:spPr>
          <a:xfrm>
            <a:off x="3422220" y="4505030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fr-FR" sz="72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4" descr="Sports Balls Images - Free Download on Freepik">
            <a:extLst>
              <a:ext uri="{FF2B5EF4-FFF2-40B4-BE49-F238E27FC236}">
                <a16:creationId xmlns:a16="http://schemas.microsoft.com/office/drawing/2014/main" id="{FEFE0B28-DE1C-3024-47D3-DD9071E2C1F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4184" r="3406" b="63254"/>
          <a:stretch/>
        </p:blipFill>
        <p:spPr bwMode="auto">
          <a:xfrm>
            <a:off x="4231069" y="1775186"/>
            <a:ext cx="844947" cy="814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Sports De Volley Ball PNG Images | Vecteurs Et Fichiers PSD |  Téléchargement Gratuit Sur Pngtree">
            <a:extLst>
              <a:ext uri="{FF2B5EF4-FFF2-40B4-BE49-F238E27FC236}">
                <a16:creationId xmlns:a16="http://schemas.microsoft.com/office/drawing/2014/main" id="{9D5CC054-3406-127D-BCF2-9A0E376C20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788" r="32733" b="70631"/>
          <a:stretch/>
        </p:blipFill>
        <p:spPr bwMode="auto">
          <a:xfrm>
            <a:off x="5177513" y="1784234"/>
            <a:ext cx="953542" cy="814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Sports Balls Images - Free Download on Freepik">
            <a:extLst>
              <a:ext uri="{FF2B5EF4-FFF2-40B4-BE49-F238E27FC236}">
                <a16:creationId xmlns:a16="http://schemas.microsoft.com/office/drawing/2014/main" id="{C9331122-3FFD-32F8-EFDC-2107922FA0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4184" r="3406" b="63254"/>
          <a:stretch/>
        </p:blipFill>
        <p:spPr bwMode="auto">
          <a:xfrm>
            <a:off x="2845975" y="1775186"/>
            <a:ext cx="844947" cy="814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Sports Balls Images - Free Download on Freepik">
            <a:extLst>
              <a:ext uri="{FF2B5EF4-FFF2-40B4-BE49-F238E27FC236}">
                <a16:creationId xmlns:a16="http://schemas.microsoft.com/office/drawing/2014/main" id="{3C93F40A-50E4-B4BD-03F5-F4881FF4BC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4184" r="3406" b="63254"/>
          <a:stretch/>
        </p:blipFill>
        <p:spPr bwMode="auto">
          <a:xfrm>
            <a:off x="3538522" y="1767673"/>
            <a:ext cx="844947" cy="814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23518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9C202C1-66BD-F038-C67B-E9C7EA95A2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D704290E-CB24-2A13-EC38-CD6F7ACB8B36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Google Shape;462;p24">
            <a:extLst>
              <a:ext uri="{FF2B5EF4-FFF2-40B4-BE49-F238E27FC236}">
                <a16:creationId xmlns:a16="http://schemas.microsoft.com/office/drawing/2014/main" id="{AED90451-2815-BC9C-4D87-D0C0FD322872}"/>
              </a:ext>
            </a:extLst>
          </p:cNvPr>
          <p:cNvSpPr txBox="1"/>
          <p:nvPr/>
        </p:nvSpPr>
        <p:spPr>
          <a:xfrm>
            <a:off x="1154747" y="562563"/>
            <a:ext cx="7315199" cy="338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ea typeface="Calibri"/>
                <a:cs typeface="Calibri"/>
                <a:sym typeface="Calibri"/>
              </a:rPr>
              <a:t>وكرة قدم واحدة. أكتب 1 في الدائرة الزرقاء.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1C144571-D033-C361-E71D-C1838D9592AF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9195" y="562563"/>
            <a:ext cx="983213" cy="108549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A037CA7E-F78E-BFE8-D42E-E1EEC393F27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69209" y="3121634"/>
            <a:ext cx="3001988" cy="2652549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91AD8151-FC43-9DEF-03EF-84AA34E5C49F}"/>
              </a:ext>
            </a:extLst>
          </p:cNvPr>
          <p:cNvSpPr txBox="1"/>
          <p:nvPr/>
        </p:nvSpPr>
        <p:spPr>
          <a:xfrm>
            <a:off x="4321389" y="3131920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 dirty="0"/>
              <a:t>4</a:t>
            </a:r>
            <a:endParaRPr lang="fr-FR" sz="7200" dirty="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D27A0347-F0BB-E416-4310-6BAC93BE93E4}"/>
              </a:ext>
            </a:extLst>
          </p:cNvPr>
          <p:cNvSpPr txBox="1"/>
          <p:nvPr/>
        </p:nvSpPr>
        <p:spPr>
          <a:xfrm>
            <a:off x="3398059" y="4522474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fr-FR" sz="72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0633A7A2-C6C4-8418-27AD-F2DD4858456B}"/>
              </a:ext>
            </a:extLst>
          </p:cNvPr>
          <p:cNvSpPr txBox="1"/>
          <p:nvPr/>
        </p:nvSpPr>
        <p:spPr>
          <a:xfrm>
            <a:off x="5161161" y="4573854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pic>
        <p:nvPicPr>
          <p:cNvPr id="11" name="Picture 4" descr="Sports Balls Images - Free Download on Freepik">
            <a:extLst>
              <a:ext uri="{FF2B5EF4-FFF2-40B4-BE49-F238E27FC236}">
                <a16:creationId xmlns:a16="http://schemas.microsoft.com/office/drawing/2014/main" id="{730ED630-703D-5BCD-170F-D387B41187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4184" r="3406" b="63254"/>
          <a:stretch/>
        </p:blipFill>
        <p:spPr bwMode="auto">
          <a:xfrm>
            <a:off x="4231069" y="1775186"/>
            <a:ext cx="844947" cy="814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Sports De Volley Ball PNG Images | Vecteurs Et Fichiers PSD |  Téléchargement Gratuit Sur Pngtree">
            <a:extLst>
              <a:ext uri="{FF2B5EF4-FFF2-40B4-BE49-F238E27FC236}">
                <a16:creationId xmlns:a16="http://schemas.microsoft.com/office/drawing/2014/main" id="{CF98C8F6-E811-C9E8-EA62-6CBE5AB499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788" r="32733" b="70631"/>
          <a:stretch/>
        </p:blipFill>
        <p:spPr bwMode="auto">
          <a:xfrm>
            <a:off x="5177513" y="1784234"/>
            <a:ext cx="953542" cy="814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Sports Balls Images - Free Download on Freepik">
            <a:extLst>
              <a:ext uri="{FF2B5EF4-FFF2-40B4-BE49-F238E27FC236}">
                <a16:creationId xmlns:a16="http://schemas.microsoft.com/office/drawing/2014/main" id="{F5DE06B8-9F87-35E1-4062-E5766421DD4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4184" r="3406" b="63254"/>
          <a:stretch/>
        </p:blipFill>
        <p:spPr bwMode="auto">
          <a:xfrm>
            <a:off x="2845975" y="1775186"/>
            <a:ext cx="844947" cy="814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Sports Balls Images - Free Download on Freepik">
            <a:extLst>
              <a:ext uri="{FF2B5EF4-FFF2-40B4-BE49-F238E27FC236}">
                <a16:creationId xmlns:a16="http://schemas.microsoft.com/office/drawing/2014/main" id="{06BAFBF0-40B8-5405-2912-E1A690B92C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4184" r="3406" b="63254"/>
          <a:stretch/>
        </p:blipFill>
        <p:spPr bwMode="auto">
          <a:xfrm>
            <a:off x="3538522" y="1767673"/>
            <a:ext cx="844947" cy="814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0299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964A7AC-A8EB-72F8-879B-B51C379ACC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6AC735EA-B496-B260-5371-969FBB9A239B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Google Shape;462;p24">
            <a:extLst>
              <a:ext uri="{FF2B5EF4-FFF2-40B4-BE49-F238E27FC236}">
                <a16:creationId xmlns:a16="http://schemas.microsoft.com/office/drawing/2014/main" id="{E84E2043-5643-1A39-FBAA-F7DB4D3FE650}"/>
              </a:ext>
            </a:extLst>
          </p:cNvPr>
          <p:cNvSpPr txBox="1"/>
          <p:nvPr/>
        </p:nvSpPr>
        <p:spPr>
          <a:xfrm>
            <a:off x="1142555" y="508013"/>
            <a:ext cx="7315199" cy="6155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30467" rIns="60950" bIns="30467" anchor="t" anchorCtr="0">
            <a:spAutoFit/>
          </a:bodyPr>
          <a:lstStyle/>
          <a:p>
            <a:pPr algn="r" rtl="1"/>
            <a:r>
              <a:rPr lang="ar-MA" b="1" dirty="0">
                <a:solidFill>
                  <a:srgbClr val="A5A5A5"/>
                </a:solidFill>
                <a:ea typeface="Calibri"/>
                <a:cs typeface="Calibri"/>
                <a:sym typeface="Calibri"/>
              </a:rPr>
              <a:t>هكذا قمت بتفكيك العد 4.</a:t>
            </a:r>
          </a:p>
          <a:p>
            <a:pPr algn="r" rtl="1"/>
            <a:r>
              <a:rPr lang="ar-MA" b="1" dirty="0">
                <a:solidFill>
                  <a:srgbClr val="A5A5A5"/>
                </a:solidFill>
                <a:ea typeface="Calibri"/>
                <a:cs typeface="Calibri"/>
                <a:sym typeface="Calibri"/>
              </a:rPr>
              <a:t>العدد 4 هو 3 و1.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C0E7AE2D-7751-4413-D8F4-DFE4A6479135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9195" y="562563"/>
            <a:ext cx="983213" cy="108549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4E798D7B-0912-112D-44A4-1C0072106B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69209" y="3121634"/>
            <a:ext cx="3001988" cy="2652549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42623279-72F2-D189-2353-4A904FA366EB}"/>
              </a:ext>
            </a:extLst>
          </p:cNvPr>
          <p:cNvSpPr txBox="1"/>
          <p:nvPr/>
        </p:nvSpPr>
        <p:spPr>
          <a:xfrm>
            <a:off x="4321389" y="3131920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 dirty="0"/>
              <a:t>4</a:t>
            </a:r>
            <a:endParaRPr lang="fr-FR" sz="7200" dirty="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86992C40-697A-8555-C05C-8C3565F4FD74}"/>
              </a:ext>
            </a:extLst>
          </p:cNvPr>
          <p:cNvSpPr txBox="1"/>
          <p:nvPr/>
        </p:nvSpPr>
        <p:spPr>
          <a:xfrm>
            <a:off x="3417004" y="4573854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fr-FR" sz="72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16066FF4-6776-77BB-F8BD-1693A4D6B97A}"/>
              </a:ext>
            </a:extLst>
          </p:cNvPr>
          <p:cNvSpPr txBox="1"/>
          <p:nvPr/>
        </p:nvSpPr>
        <p:spPr>
          <a:xfrm>
            <a:off x="5161161" y="4573853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pic>
        <p:nvPicPr>
          <p:cNvPr id="11" name="Picture 4" descr="Sports Balls Images - Free Download on Freepik">
            <a:extLst>
              <a:ext uri="{FF2B5EF4-FFF2-40B4-BE49-F238E27FC236}">
                <a16:creationId xmlns:a16="http://schemas.microsoft.com/office/drawing/2014/main" id="{6BB981F9-75CE-47D1-DE0F-ECDB0F24BA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4184" r="3406" b="63254"/>
          <a:stretch/>
        </p:blipFill>
        <p:spPr bwMode="auto">
          <a:xfrm>
            <a:off x="4231069" y="1775186"/>
            <a:ext cx="844947" cy="814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Sports De Volley Ball PNG Images | Vecteurs Et Fichiers PSD |  Téléchargement Gratuit Sur Pngtree">
            <a:extLst>
              <a:ext uri="{FF2B5EF4-FFF2-40B4-BE49-F238E27FC236}">
                <a16:creationId xmlns:a16="http://schemas.microsoft.com/office/drawing/2014/main" id="{5C160AB2-3765-56B7-4A9E-B80C5E964D3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788" r="32733" b="70631"/>
          <a:stretch/>
        </p:blipFill>
        <p:spPr bwMode="auto">
          <a:xfrm>
            <a:off x="5177513" y="1784234"/>
            <a:ext cx="953542" cy="814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Sports Balls Images - Free Download on Freepik">
            <a:extLst>
              <a:ext uri="{FF2B5EF4-FFF2-40B4-BE49-F238E27FC236}">
                <a16:creationId xmlns:a16="http://schemas.microsoft.com/office/drawing/2014/main" id="{F160F35C-7F44-2258-1ED9-C964E2B8405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4184" r="3406" b="63254"/>
          <a:stretch/>
        </p:blipFill>
        <p:spPr bwMode="auto">
          <a:xfrm>
            <a:off x="2845975" y="1775186"/>
            <a:ext cx="844947" cy="814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Sports Balls Images - Free Download on Freepik">
            <a:extLst>
              <a:ext uri="{FF2B5EF4-FFF2-40B4-BE49-F238E27FC236}">
                <a16:creationId xmlns:a16="http://schemas.microsoft.com/office/drawing/2014/main" id="{BD9B2B73-E40C-FFEF-6A4D-95507672AA6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4184" r="3406" b="63254"/>
          <a:stretch/>
        </p:blipFill>
        <p:spPr bwMode="auto">
          <a:xfrm>
            <a:off x="3538522" y="1767673"/>
            <a:ext cx="844947" cy="814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506998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A387E72-5952-29BE-AD20-0FCF9F2D73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737DBA60-91F6-392E-8FCA-71CD12B6838F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A6D5A2FC-763A-6D16-D68D-1EFCCBEFF64F}"/>
              </a:ext>
            </a:extLst>
          </p:cNvPr>
          <p:cNvSpPr txBox="1"/>
          <p:nvPr/>
        </p:nvSpPr>
        <p:spPr>
          <a:xfrm>
            <a:off x="395536" y="557363"/>
            <a:ext cx="80922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آن سنشتغل على الكراسات . خذوا الصفحة 14.</a:t>
            </a:r>
            <a:r>
              <a:rPr lang="fr-FR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النشاط رقم 1.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810DAD16-0447-7F19-3F84-036782CFE5F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5536" y="552317"/>
            <a:ext cx="895747" cy="822553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1BD5EADE-22BD-E4E0-3CFF-5003DE2FB8C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1311" y="2219380"/>
            <a:ext cx="8401377" cy="3363513"/>
          </a:xfrm>
          <a:prstGeom prst="rect">
            <a:avLst/>
          </a:prstGeom>
        </p:spPr>
      </p:pic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E84DC3BE-F850-5A0C-1F96-5FBE460E3672}"/>
              </a:ext>
            </a:extLst>
          </p:cNvPr>
          <p:cNvSpPr/>
          <p:nvPr/>
        </p:nvSpPr>
        <p:spPr>
          <a:xfrm>
            <a:off x="179512" y="1988841"/>
            <a:ext cx="8687761" cy="3824592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4153006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2D9001C-5E9B-973C-DF98-8A3BA045C7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E2D37E9F-4DA0-1A1A-204A-525D6CDA866B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7E806F5D-340C-B688-7E69-E0025E06A65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1311" y="2219380"/>
            <a:ext cx="8401377" cy="3363513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86F6FBDA-D3E0-DBFD-D570-4840B8ECB796}"/>
              </a:ext>
            </a:extLst>
          </p:cNvPr>
          <p:cNvSpPr txBox="1"/>
          <p:nvPr/>
        </p:nvSpPr>
        <p:spPr>
          <a:xfrm>
            <a:off x="395536" y="557363"/>
            <a:ext cx="80922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لاحظوا الكرات وقوموا بتفكيك آخر للعدد 4. سأمر بين الصفوف لمساعدتكم.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B519DFA-B5D8-38B1-66F3-3C8644F1E0B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5536" y="552317"/>
            <a:ext cx="895747" cy="822553"/>
          </a:xfrm>
          <a:prstGeom prst="rect">
            <a:avLst/>
          </a:prstGeom>
          <a:ln>
            <a:noFill/>
          </a:ln>
          <a:effectLst/>
        </p:spPr>
      </p:pic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ABC74FC6-F703-75AB-AF4A-89E07A0F8F35}"/>
              </a:ext>
            </a:extLst>
          </p:cNvPr>
          <p:cNvSpPr/>
          <p:nvPr/>
        </p:nvSpPr>
        <p:spPr>
          <a:xfrm>
            <a:off x="3308043" y="2722285"/>
            <a:ext cx="2550694" cy="2690963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Flèche : bas 2">
            <a:extLst>
              <a:ext uri="{FF2B5EF4-FFF2-40B4-BE49-F238E27FC236}">
                <a16:creationId xmlns:a16="http://schemas.microsoft.com/office/drawing/2014/main" id="{29CE1D6C-D3EB-0217-FC97-AB4A9BDE1E92}"/>
              </a:ext>
            </a:extLst>
          </p:cNvPr>
          <p:cNvSpPr/>
          <p:nvPr/>
        </p:nvSpPr>
        <p:spPr>
          <a:xfrm>
            <a:off x="4310777" y="2246141"/>
            <a:ext cx="261796" cy="476144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998576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4A3A276-217B-7B77-9144-42D7E54D04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FF2E7F73-2BD5-A8B6-E6EC-DF1600094CC6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D3DEF969-2BB2-F296-6DBC-9C042A3D17D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1311" y="2219380"/>
            <a:ext cx="8401377" cy="3363513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45F594E5-D3FC-33F1-E8E3-E4FB2E0AB674}"/>
              </a:ext>
            </a:extLst>
          </p:cNvPr>
          <p:cNvSpPr txBox="1"/>
          <p:nvPr/>
        </p:nvSpPr>
        <p:spPr>
          <a:xfrm>
            <a:off x="647564" y="493832"/>
            <a:ext cx="7848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نصحح جماعة. العدد 4 هو كذلك 2 و2.</a:t>
            </a: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i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تفاعل المدرس(ة) مع التلاميذ.</a:t>
            </a:r>
            <a:endParaRPr kumimoji="0" lang="ar-MA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F55FF58B-3E47-B3A6-5BB1-C5CFD9E59B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9140" y="361770"/>
            <a:ext cx="1569466" cy="1119692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80240345-E3BD-3247-AF39-4D43DED261FA}"/>
              </a:ext>
            </a:extLst>
          </p:cNvPr>
          <p:cNvSpPr txBox="1"/>
          <p:nvPr/>
        </p:nvSpPr>
        <p:spPr>
          <a:xfrm>
            <a:off x="4087609" y="4433928"/>
            <a:ext cx="3561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4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fr-FR" sz="24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DCF42B76-2531-CDFA-D704-4AE2877489BD}"/>
              </a:ext>
            </a:extLst>
          </p:cNvPr>
          <p:cNvSpPr/>
          <p:nvPr/>
        </p:nvSpPr>
        <p:spPr>
          <a:xfrm>
            <a:off x="3295399" y="2663289"/>
            <a:ext cx="2586791" cy="2691926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3F861985-E7BB-00D0-8D10-82BC66412146}"/>
              </a:ext>
            </a:extLst>
          </p:cNvPr>
          <p:cNvSpPr txBox="1"/>
          <p:nvPr/>
        </p:nvSpPr>
        <p:spPr>
          <a:xfrm>
            <a:off x="4792253" y="4426456"/>
            <a:ext cx="3561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4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fr-FR" sz="24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84534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94A4C09-A854-0F63-4FB3-7F5D9C655C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989883EB-FC92-BB72-85AA-D1EF382829A0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240182B4-1664-3049-12D4-E318035CED7A}"/>
              </a:ext>
            </a:extLst>
          </p:cNvPr>
          <p:cNvSpPr txBox="1"/>
          <p:nvPr/>
        </p:nvSpPr>
        <p:spPr>
          <a:xfrm>
            <a:off x="395536" y="557363"/>
            <a:ext cx="80922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لاحظوا الكرات وقوموا بتفكيك آخر للعدد 4. سأمر بين الصفوف لمساعدتكم.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2CBC4A86-959B-21E2-29D1-F0D0EAB5994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5536" y="552317"/>
            <a:ext cx="895747" cy="822553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4BB350C8-0C4F-D4DA-DBEB-522F017EE24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1311" y="2219380"/>
            <a:ext cx="8401377" cy="3363513"/>
          </a:xfrm>
          <a:prstGeom prst="rect">
            <a:avLst/>
          </a:prstGeom>
        </p:spPr>
      </p:pic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93F6B28A-440C-E816-E1E2-DCD6B18B403F}"/>
              </a:ext>
            </a:extLst>
          </p:cNvPr>
          <p:cNvSpPr/>
          <p:nvPr/>
        </p:nvSpPr>
        <p:spPr>
          <a:xfrm>
            <a:off x="5918252" y="2722285"/>
            <a:ext cx="2586791" cy="2691926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Flèche : bas 2">
            <a:extLst>
              <a:ext uri="{FF2B5EF4-FFF2-40B4-BE49-F238E27FC236}">
                <a16:creationId xmlns:a16="http://schemas.microsoft.com/office/drawing/2014/main" id="{93CAF295-2B78-10D2-48EC-F528354EF474}"/>
              </a:ext>
            </a:extLst>
          </p:cNvPr>
          <p:cNvSpPr/>
          <p:nvPr/>
        </p:nvSpPr>
        <p:spPr>
          <a:xfrm>
            <a:off x="7178285" y="2200274"/>
            <a:ext cx="261796" cy="476144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6F3B0D82-CBA0-7100-F304-CCD2E5E5C966}"/>
              </a:ext>
            </a:extLst>
          </p:cNvPr>
          <p:cNvSpPr txBox="1"/>
          <p:nvPr/>
        </p:nvSpPr>
        <p:spPr>
          <a:xfrm>
            <a:off x="4119465" y="4415445"/>
            <a:ext cx="3561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4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fr-FR" sz="24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C8E21D8-AFEF-BAAE-0BB6-CE2852684D00}"/>
              </a:ext>
            </a:extLst>
          </p:cNvPr>
          <p:cNvSpPr txBox="1"/>
          <p:nvPr/>
        </p:nvSpPr>
        <p:spPr>
          <a:xfrm>
            <a:off x="4804445" y="4427637"/>
            <a:ext cx="3561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4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fr-FR" sz="24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599775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CAFAD65-773C-E1F2-A01D-6C7C410D66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42417903-5753-629A-F1B1-67CBBCB8DA10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0DCE05DC-BE79-C74C-E40B-E6F715B28C1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1311" y="2219380"/>
            <a:ext cx="8401377" cy="3363513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5E6D9EE0-96FD-0340-C4AC-53DAF75F1E9B}"/>
              </a:ext>
            </a:extLst>
          </p:cNvPr>
          <p:cNvSpPr txBox="1"/>
          <p:nvPr/>
        </p:nvSpPr>
        <p:spPr>
          <a:xfrm>
            <a:off x="647564" y="493832"/>
            <a:ext cx="7848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نصحح جماعة. العدد 4 هو كذلك 1 و3.</a:t>
            </a: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i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تفاعل المدرس(ة) مع التلاميذ.</a:t>
            </a:r>
            <a:endParaRPr kumimoji="0" lang="ar-MA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87788376-BD87-72D7-0E77-A4FA01A6C5D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9140" y="361770"/>
            <a:ext cx="1569466" cy="1119692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C550E39E-0297-D22D-FC99-74AA2CEF43C9}"/>
              </a:ext>
            </a:extLst>
          </p:cNvPr>
          <p:cNvSpPr txBox="1"/>
          <p:nvPr/>
        </p:nvSpPr>
        <p:spPr>
          <a:xfrm>
            <a:off x="6692662" y="4450944"/>
            <a:ext cx="3561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4FF8869B-D0D3-9B70-7054-511E26818B6E}"/>
              </a:ext>
            </a:extLst>
          </p:cNvPr>
          <p:cNvSpPr txBox="1"/>
          <p:nvPr/>
        </p:nvSpPr>
        <p:spPr>
          <a:xfrm>
            <a:off x="7394080" y="4440393"/>
            <a:ext cx="3561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4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fr-FR" sz="24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686A724F-6EE4-0BB7-D373-C6A7A3F078E5}"/>
              </a:ext>
            </a:extLst>
          </p:cNvPr>
          <p:cNvSpPr/>
          <p:nvPr/>
        </p:nvSpPr>
        <p:spPr>
          <a:xfrm>
            <a:off x="5910301" y="2719139"/>
            <a:ext cx="2586791" cy="2691926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D2E632F-8250-98F4-615F-FB9150C50886}"/>
              </a:ext>
            </a:extLst>
          </p:cNvPr>
          <p:cNvSpPr txBox="1"/>
          <p:nvPr/>
        </p:nvSpPr>
        <p:spPr>
          <a:xfrm>
            <a:off x="4082889" y="4439829"/>
            <a:ext cx="3561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4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fr-FR" sz="24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C74E9D21-30CE-17B8-3876-131018E1BBB1}"/>
              </a:ext>
            </a:extLst>
          </p:cNvPr>
          <p:cNvSpPr txBox="1"/>
          <p:nvPr/>
        </p:nvSpPr>
        <p:spPr>
          <a:xfrm>
            <a:off x="4804445" y="4427637"/>
            <a:ext cx="3561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4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fr-FR" sz="24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04317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7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C75046-D327-CBCA-5FD2-A7FA559A8F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2F7C0A4B-B1F0-ABD8-D604-EA7FE6BF6440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5555" b="-5555"/>
            </a:stretch>
          </a:blipFill>
        </p:spPr>
        <p:txBody>
          <a:bodyPr/>
          <a:lstStyle/>
          <a:p>
            <a:pPr defTabSz="609660">
              <a:defRPr/>
            </a:pPr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Ellipse 62">
            <a:extLst>
              <a:ext uri="{FF2B5EF4-FFF2-40B4-BE49-F238E27FC236}">
                <a16:creationId xmlns:a16="http://schemas.microsoft.com/office/drawing/2014/main" id="{D7083EFA-4931-086B-4677-E559A61DC1E2}"/>
              </a:ext>
            </a:extLst>
          </p:cNvPr>
          <p:cNvSpPr/>
          <p:nvPr/>
        </p:nvSpPr>
        <p:spPr>
          <a:xfrm>
            <a:off x="1196648" y="46409"/>
            <a:ext cx="6811591" cy="6811591"/>
          </a:xfrm>
          <a:prstGeom prst="ellipse">
            <a:avLst/>
          </a:prstGeom>
          <a:solidFill>
            <a:srgbClr val="D6E9EA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F7B80CEE-EF85-F60C-1AD2-8ACD885F40CD}"/>
              </a:ext>
            </a:extLst>
          </p:cNvPr>
          <p:cNvSpPr txBox="1"/>
          <p:nvPr/>
        </p:nvSpPr>
        <p:spPr>
          <a:xfrm>
            <a:off x="1380413" y="2667001"/>
            <a:ext cx="6444063" cy="6779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60" rtl="1">
              <a:lnSpc>
                <a:spcPts val="5486"/>
              </a:lnSpc>
              <a:defRPr/>
            </a:pPr>
            <a:r>
              <a:rPr lang="ar-MA" sz="4400" b="1" dirty="0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. أنشطة تمهيدية 2/3 </a:t>
            </a:r>
            <a:endParaRPr lang="ar-MA" sz="1600" b="1" dirty="0">
              <a:solidFill>
                <a:srgbClr val="106585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BF2ECF8D-27F6-F5DD-06AA-B8EF94921124}"/>
              </a:ext>
            </a:extLst>
          </p:cNvPr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60966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858F755C-F06E-B25D-B5A7-240CFF8CEA67}"/>
              </a:ext>
            </a:extLst>
          </p:cNvPr>
          <p:cNvSpPr/>
          <p:nvPr/>
        </p:nvSpPr>
        <p:spPr>
          <a:xfrm>
            <a:off x="7804156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60966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D62EDB2A-6233-5C90-30CD-C686608A86D1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923928" y="3717032"/>
            <a:ext cx="1472378" cy="218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04066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CB165543-4DBF-48F7-57E1-EF9DF479B2E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0"/>
            <a:ext cx="9144000" cy="6858000"/>
            <a:chOff x="0" y="0"/>
            <a:chExt cx="13716000" cy="10287000"/>
          </a:xfrm>
        </p:grpSpPr>
        <p:sp>
          <p:nvSpPr>
            <p:cNvPr id="10" name="Freeform 2">
              <a:extLst>
                <a:ext uri="{FF2B5EF4-FFF2-40B4-BE49-F238E27FC236}">
                  <a16:creationId xmlns:a16="http://schemas.microsoft.com/office/drawing/2014/main" id="{F708FCD2-6BF9-00A9-A27E-4ABFC613E86D}"/>
                </a:ext>
              </a:extLst>
            </p:cNvPr>
            <p:cNvSpPr/>
            <p:nvPr/>
          </p:nvSpPr>
          <p:spPr>
            <a:xfrm>
              <a:off x="0" y="0"/>
              <a:ext cx="13716000" cy="10287000"/>
            </a:xfrm>
            <a:custGeom>
              <a:avLst/>
              <a:gdLst/>
              <a:ahLst/>
              <a:cxnLst/>
              <a:rect l="l" t="t" r="r" b="b"/>
              <a:pathLst>
                <a:path w="18288000" h="10287000">
                  <a:moveTo>
                    <a:pt x="0" y="0"/>
                  </a:moveTo>
                  <a:lnTo>
                    <a:pt x="18288000" y="0"/>
                  </a:lnTo>
                  <a:lnTo>
                    <a:pt x="18288000" y="10287000"/>
                  </a:lnTo>
                  <a:lnTo>
                    <a:pt x="0" y="102870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0"/>
              <a:stretch>
                <a:fillRect t="-5555" b="-5555"/>
              </a:stretch>
            </a:blipFill>
            <a:ln>
              <a:noFill/>
            </a:ln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grpSp>
          <p:nvGrpSpPr>
            <p:cNvPr id="11" name="Groupe 10">
              <a:extLst>
                <a:ext uri="{FF2B5EF4-FFF2-40B4-BE49-F238E27FC236}">
                  <a16:creationId xmlns:a16="http://schemas.microsoft.com/office/drawing/2014/main" id="{CF0E36C0-C341-AACC-60EE-1249E2D9C505}"/>
                </a:ext>
              </a:extLst>
            </p:cNvPr>
            <p:cNvGrpSpPr/>
            <p:nvPr/>
          </p:nvGrpSpPr>
          <p:grpSpPr>
            <a:xfrm>
              <a:off x="800100" y="271776"/>
              <a:ext cx="12001500" cy="9516240"/>
              <a:chOff x="800100" y="271776"/>
              <a:chExt cx="12001500" cy="9516240"/>
            </a:xfrm>
          </p:grpSpPr>
          <p:grpSp>
            <p:nvGrpSpPr>
              <p:cNvPr id="12" name="Group 3">
                <a:extLst>
                  <a:ext uri="{FF2B5EF4-FFF2-40B4-BE49-F238E27FC236}">
                    <a16:creationId xmlns:a16="http://schemas.microsoft.com/office/drawing/2014/main" id="{6856C84E-5D28-B1BE-B422-DE634E79C01D}"/>
                  </a:ext>
                </a:extLst>
              </p:cNvPr>
              <p:cNvGrpSpPr/>
              <p:nvPr/>
            </p:nvGrpSpPr>
            <p:grpSpPr>
              <a:xfrm>
                <a:off x="800100" y="823019"/>
                <a:ext cx="12001500" cy="8964997"/>
                <a:chOff x="0" y="-506922"/>
                <a:chExt cx="3895412" cy="3664738"/>
              </a:xfrm>
            </p:grpSpPr>
            <p:sp>
              <p:nvSpPr>
                <p:cNvPr id="14" name="Freeform 4">
                  <a:extLst>
                    <a:ext uri="{FF2B5EF4-FFF2-40B4-BE49-F238E27FC236}">
                      <a16:creationId xmlns:a16="http://schemas.microsoft.com/office/drawing/2014/main" id="{E467593A-A3AA-574E-C98C-D79D5650552D}"/>
                    </a:ext>
                  </a:extLst>
                </p:cNvPr>
                <p:cNvSpPr/>
                <p:nvPr/>
              </p:nvSpPr>
              <p:spPr>
                <a:xfrm>
                  <a:off x="0" y="-506922"/>
                  <a:ext cx="3895412" cy="36647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12" h="2555175">
                      <a:moveTo>
                        <a:pt x="6703" y="0"/>
                      </a:moveTo>
                      <a:lnTo>
                        <a:pt x="3888710" y="0"/>
                      </a:lnTo>
                      <a:cubicBezTo>
                        <a:pt x="3892411" y="0"/>
                        <a:pt x="3895412" y="3001"/>
                        <a:pt x="3895412" y="6703"/>
                      </a:cubicBezTo>
                      <a:lnTo>
                        <a:pt x="3895412" y="2548473"/>
                      </a:lnTo>
                      <a:cubicBezTo>
                        <a:pt x="3895412" y="2550250"/>
                        <a:pt x="3894706" y="2551955"/>
                        <a:pt x="3893449" y="2553212"/>
                      </a:cubicBezTo>
                      <a:cubicBezTo>
                        <a:pt x="3892192" y="2554469"/>
                        <a:pt x="3890487" y="2555175"/>
                        <a:pt x="3888710" y="2555175"/>
                      </a:cubicBezTo>
                      <a:lnTo>
                        <a:pt x="6703" y="2555175"/>
                      </a:lnTo>
                      <a:cubicBezTo>
                        <a:pt x="4925" y="2555175"/>
                        <a:pt x="3220" y="2554469"/>
                        <a:pt x="1963" y="2553212"/>
                      </a:cubicBezTo>
                      <a:cubicBezTo>
                        <a:pt x="706" y="2551955"/>
                        <a:pt x="0" y="2550250"/>
                        <a:pt x="0" y="2548473"/>
                      </a:cubicBezTo>
                      <a:lnTo>
                        <a:pt x="0" y="6703"/>
                      </a:lnTo>
                      <a:cubicBezTo>
                        <a:pt x="0" y="4925"/>
                        <a:pt x="706" y="3220"/>
                        <a:pt x="1963" y="1963"/>
                      </a:cubicBezTo>
                      <a:cubicBezTo>
                        <a:pt x="3220" y="706"/>
                        <a:pt x="4925" y="0"/>
                        <a:pt x="6703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050">
                  <a:solidFill>
                    <a:srgbClr val="2B7589"/>
                  </a:solidFill>
                </a:ln>
              </p:spPr>
              <p:txBody>
                <a:bodyPr/>
                <a:lstStyle/>
                <a:p>
                  <a:pPr marL="0" marR="0" lvl="0" indent="0" algn="l" defTabSz="60963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MA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5" name="TextBox 5">
                  <a:extLst>
                    <a:ext uri="{FF2B5EF4-FFF2-40B4-BE49-F238E27FC236}">
                      <a16:creationId xmlns:a16="http://schemas.microsoft.com/office/drawing/2014/main" id="{EBF35789-EF5A-9231-2393-AA2D13C5F56A}"/>
                    </a:ext>
                  </a:extLst>
                </p:cNvPr>
                <p:cNvSpPr txBox="1"/>
                <p:nvPr/>
              </p:nvSpPr>
              <p:spPr>
                <a:xfrm>
                  <a:off x="0" y="-47625"/>
                  <a:ext cx="812800" cy="860425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lIns="25400" tIns="25400" rIns="25400" bIns="25400" rtlCol="0" anchor="ctr"/>
                <a:lstStyle/>
                <a:p>
                  <a:pPr marL="0" marR="0" lvl="0" indent="0" algn="ctr" defTabSz="609630" rtl="0" eaLnBrk="1" fontAlgn="auto" latinLnBrk="0" hangingPunct="1">
                    <a:lnSpc>
                      <a:spcPts val="1605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Dosis" pitchFamily="2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" name="Freeform 7">
                <a:extLst>
                  <a:ext uri="{FF2B5EF4-FFF2-40B4-BE49-F238E27FC236}">
                    <a16:creationId xmlns:a16="http://schemas.microsoft.com/office/drawing/2014/main" id="{04888450-80DC-3049-7195-02CD36824DB4}"/>
                  </a:ext>
                </a:extLst>
              </p:cNvPr>
              <p:cNvSpPr/>
              <p:nvPr/>
            </p:nvSpPr>
            <p:spPr>
              <a:xfrm>
                <a:off x="800100" y="271776"/>
                <a:ext cx="929375" cy="892200"/>
              </a:xfrm>
              <a:custGeom>
                <a:avLst/>
                <a:gdLst/>
                <a:ahLst/>
                <a:cxnLst/>
                <a:rect l="l" t="t" r="r" b="b"/>
                <a:pathLst>
                  <a:path w="1239167" h="1189600">
                    <a:moveTo>
                      <a:pt x="0" y="0"/>
                    </a:moveTo>
                    <a:lnTo>
                      <a:pt x="1239167" y="0"/>
                    </a:lnTo>
                    <a:lnTo>
                      <a:pt x="1239167" y="1189600"/>
                    </a:lnTo>
                    <a:lnTo>
                      <a:pt x="0" y="11896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pPr marL="0" marR="0" lvl="0" indent="0" algn="l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MA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osis" pitchFamily="2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8" name="Rectangle : coins arrondis 95">
            <a:extLst>
              <a:ext uri="{FF2B5EF4-FFF2-40B4-BE49-F238E27FC236}">
                <a16:creationId xmlns:a16="http://schemas.microsoft.com/office/drawing/2014/main" id="{E7EE83DA-B173-8904-FF97-439EA153238B}"/>
              </a:ext>
            </a:extLst>
          </p:cNvPr>
          <p:cNvSpPr/>
          <p:nvPr/>
        </p:nvSpPr>
        <p:spPr>
          <a:xfrm flipH="1" flipV="1">
            <a:off x="1925088" y="627649"/>
            <a:ext cx="5614492" cy="532201"/>
          </a:xfrm>
          <a:prstGeom prst="roundRect">
            <a:avLst>
              <a:gd name="adj" fmla="val 50000"/>
            </a:avLst>
          </a:prstGeom>
          <a:solidFill>
            <a:srgbClr val="005664"/>
          </a:solidFill>
          <a:ln w="13658" cap="flat">
            <a:solidFill>
              <a:srgbClr val="005664"/>
            </a:solidFill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3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ir Strip Arabic" panose="02000500000000000000" pitchFamily="2" charset="-78"/>
              <a:cs typeface="Air Strip Arabic" panose="02000500000000000000" pitchFamily="2" charset="-78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915D381-18F3-43EC-F8E3-6D366476685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1263961" y="1751001"/>
            <a:ext cx="1275001" cy="1112031"/>
          </a:xfrm>
          <a:prstGeom prst="rect">
            <a:avLst/>
          </a:prstGeom>
        </p:spPr>
      </p:pic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79441BD0-3475-3561-9867-7AA9199CD64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12984" y="3193347"/>
            <a:ext cx="2979740" cy="359073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حاسوب جاهز يتضمن شرائح الدرس </a:t>
            </a: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50000"/>
                </a:srgb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3544874-45A9-6686-34C5-F066052CB44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245814" y="3180438"/>
            <a:ext cx="1337413" cy="359073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مؤشر الليزر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50000"/>
                </a:srgb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F31C257C-687C-6F5D-9E7D-C97F5E15A1E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867960" y="1563756"/>
            <a:ext cx="1488108" cy="1486521"/>
          </a:xfrm>
          <a:prstGeom prst="rect">
            <a:avLst/>
          </a:prstGeom>
        </p:spPr>
      </p:pic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CC74D983-3D6D-C529-D40A-5A387E869EC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086025" y="3180438"/>
            <a:ext cx="2343704" cy="366169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ar-MA" sz="160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مطابقة الشرائح لإطار العرض</a:t>
            </a: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50000"/>
                </a:srgb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grpSp>
        <p:nvGrpSpPr>
          <p:cNvPr id="4" name="Groupe 3">
            <a:extLst>
              <a:ext uri="{FF2B5EF4-FFF2-40B4-BE49-F238E27FC236}">
                <a16:creationId xmlns:a16="http://schemas.microsoft.com/office/drawing/2014/main" id="{6299CF6B-CE2B-791D-2D1B-A9B2C262C87F}"/>
              </a:ext>
            </a:extLst>
          </p:cNvPr>
          <p:cNvGrpSpPr/>
          <p:nvPr/>
        </p:nvGrpSpPr>
        <p:grpSpPr>
          <a:xfrm>
            <a:off x="5730130" y="1837924"/>
            <a:ext cx="2461234" cy="938185"/>
            <a:chOff x="5927422" y="1637467"/>
            <a:chExt cx="2461234" cy="938185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A7A319C-C059-FFD4-BBFE-F1EB25D84478}"/>
                </a:ext>
              </a:extLst>
            </p:cNvPr>
            <p:cNvSpPr/>
            <p:nvPr/>
          </p:nvSpPr>
          <p:spPr>
            <a:xfrm>
              <a:off x="5927422" y="1772816"/>
              <a:ext cx="2461234" cy="713503"/>
            </a:xfrm>
            <a:prstGeom prst="rect">
              <a:avLst/>
            </a:prstGeom>
            <a:noFill/>
            <a:ln w="1905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7FBA1A5D-E1CE-DD81-3A1B-57A43E8922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607429" y="1637467"/>
              <a:ext cx="1112060" cy="938185"/>
            </a:xfrm>
            <a:prstGeom prst="rect">
              <a:avLst/>
            </a:prstGeom>
          </p:spPr>
        </p:pic>
      </p:grpSp>
      <p:pic>
        <p:nvPicPr>
          <p:cNvPr id="23" name="Image 22">
            <a:extLst>
              <a:ext uri="{FF2B5EF4-FFF2-40B4-BE49-F238E27FC236}">
                <a16:creationId xmlns:a16="http://schemas.microsoft.com/office/drawing/2014/main" id="{0143C57D-A2FA-01FE-5D75-2F61EA5C90F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59338" y="3884683"/>
            <a:ext cx="1299932" cy="183857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D44BCAAB-230D-8B5D-8B99-F47C451DA857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3578687" y="5845512"/>
            <a:ext cx="2461234" cy="611979"/>
          </a:xfrm>
          <a:prstGeom prst="roundRect">
            <a:avLst>
              <a:gd name="adj" fmla="val 3225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المذكرة اليومية</a:t>
            </a: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 -</a:t>
            </a:r>
            <a:r>
              <a:rPr lang="ar-MA" sz="1600" b="1" dirty="0">
                <a:solidFill>
                  <a:srgbClr val="4BACC6">
                    <a:lumMod val="50000"/>
                  </a:srgb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kumimoji="0" lang="ar-MA" sz="16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 خطاطة ذهنية </a:t>
            </a: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50000"/>
                </a:srgbClr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sp>
        <p:nvSpPr>
          <p:cNvPr id="2" name="TextBox 9">
            <a:extLst>
              <a:ext uri="{FF2B5EF4-FFF2-40B4-BE49-F238E27FC236}">
                <a16:creationId xmlns:a16="http://schemas.microsoft.com/office/drawing/2014/main" id="{EFB9B008-41AC-BDC5-4B91-5A497B148B4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302515" y="795475"/>
            <a:ext cx="5013577" cy="36407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457246" rtl="1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28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الشروط و</a:t>
            </a:r>
            <a:r>
              <a:rPr kumimoji="0" lang="ar-MA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الوسائل الديداكتيكية والتقنية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957371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07E5C19-E799-8B39-511D-393BC3DF0D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64B6E0A7-5712-A626-2B70-AB6CAE5FA8DE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7">
            <a:extLst>
              <a:ext uri="{FF2B5EF4-FFF2-40B4-BE49-F238E27FC236}">
                <a16:creationId xmlns:a16="http://schemas.microsoft.com/office/drawing/2014/main" id="{BFCF3DDC-A255-19B1-200E-3EFA255311D4}"/>
              </a:ext>
            </a:extLst>
          </p:cNvPr>
          <p:cNvSpPr txBox="1"/>
          <p:nvPr/>
        </p:nvSpPr>
        <p:spPr>
          <a:xfrm>
            <a:off x="878552" y="538334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تبهوا. الآن لدينا </a:t>
            </a:r>
            <a:r>
              <a:rPr lang="fr-FR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أقلام ملونة ... 5.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F14EF1A-CE72-B672-997C-803BA215B99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4801" y="507225"/>
            <a:ext cx="1095835" cy="1209831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8DF1B3B7-5291-6721-0B23-FB7B462FA1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72573" y="3131920"/>
            <a:ext cx="1221462" cy="1237120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A0E4A145-6CD6-3CF1-EE3F-D9A61EAB9B81}"/>
              </a:ext>
            </a:extLst>
          </p:cNvPr>
          <p:cNvSpPr txBox="1"/>
          <p:nvPr/>
        </p:nvSpPr>
        <p:spPr>
          <a:xfrm>
            <a:off x="4350940" y="3183935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 dirty="0"/>
              <a:t>5</a:t>
            </a:r>
            <a:endParaRPr lang="fr-FR" sz="7200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7478584F-F9F4-21EE-6E8B-F35D59E76DF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45366" y="1340189"/>
            <a:ext cx="3048170" cy="1607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225422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215BBAE-5CCC-79C1-6B4C-DA614E6223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C74666D0-C188-5507-7742-E97D71BC3A81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7">
            <a:extLst>
              <a:ext uri="{FF2B5EF4-FFF2-40B4-BE49-F238E27FC236}">
                <a16:creationId xmlns:a16="http://schemas.microsoft.com/office/drawing/2014/main" id="{AF046DAB-2B4F-F734-CC6E-30DD76D84E61}"/>
              </a:ext>
            </a:extLst>
          </p:cNvPr>
          <p:cNvSpPr txBox="1"/>
          <p:nvPr/>
        </p:nvSpPr>
        <p:spPr>
          <a:xfrm>
            <a:off x="878552" y="538334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 أقلام حمراء.  أكتب 4 في الدائرة الحمراء.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BE022486-21FC-C154-932F-DD03CFE2958A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4801" y="507225"/>
            <a:ext cx="1095835" cy="1209831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199B2195-4C99-0CEB-F37F-9A1806A996A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69209" y="3121634"/>
            <a:ext cx="3001988" cy="2652549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0BCCED1E-28FD-A3FD-D2CD-34EADBF4DED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72573" y="3140968"/>
            <a:ext cx="1221462" cy="1237120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DC7A6772-2901-4C1C-A125-A7E3D51DC78A}"/>
              </a:ext>
            </a:extLst>
          </p:cNvPr>
          <p:cNvSpPr txBox="1"/>
          <p:nvPr/>
        </p:nvSpPr>
        <p:spPr>
          <a:xfrm>
            <a:off x="4321389" y="3131920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 dirty="0"/>
              <a:t>5</a:t>
            </a:r>
            <a:endParaRPr lang="fr-FR" sz="7200" dirty="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5BBB9D44-8731-EEC8-3731-733A92B3D667}"/>
              </a:ext>
            </a:extLst>
          </p:cNvPr>
          <p:cNvSpPr txBox="1"/>
          <p:nvPr/>
        </p:nvSpPr>
        <p:spPr>
          <a:xfrm>
            <a:off x="3426125" y="4515299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fr-FR" sz="72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FDFFD17C-7793-E0F0-D72D-9BDC3BE9488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45366" y="1340189"/>
            <a:ext cx="3048170" cy="1607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7125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4BB01CD-0082-354E-E112-0BDF883AD2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ADC05E8A-E11F-0F83-C6DB-DEA41F0EF399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7">
            <a:extLst>
              <a:ext uri="{FF2B5EF4-FFF2-40B4-BE49-F238E27FC236}">
                <a16:creationId xmlns:a16="http://schemas.microsoft.com/office/drawing/2014/main" id="{4E95E2FE-9EAE-5072-DDFD-EA98A07F57F4}"/>
              </a:ext>
            </a:extLst>
          </p:cNvPr>
          <p:cNvSpPr txBox="1"/>
          <p:nvPr/>
        </p:nvSpPr>
        <p:spPr>
          <a:xfrm>
            <a:off x="878552" y="538334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وقلم واحد أزرق. أكتب 1 في الدائرة الزرقاء.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289BE966-0771-4D88-1240-4903EB341FE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4801" y="507225"/>
            <a:ext cx="1095835" cy="1209831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5E6646CE-6BB8-24A1-2454-DEC0887A679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69209" y="3121634"/>
            <a:ext cx="3001988" cy="2652549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2182C769-6107-19F0-BB6A-C5D0A8E7378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72573" y="3140968"/>
            <a:ext cx="1221462" cy="1237120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532E9A03-FBA7-E8EB-06ED-919DB87295E1}"/>
              </a:ext>
            </a:extLst>
          </p:cNvPr>
          <p:cNvSpPr txBox="1"/>
          <p:nvPr/>
        </p:nvSpPr>
        <p:spPr>
          <a:xfrm>
            <a:off x="4321389" y="3131920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 dirty="0"/>
              <a:t>5</a:t>
            </a:r>
            <a:endParaRPr lang="fr-FR" sz="7200" dirty="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D9AE5299-FC1A-4CF1-66F1-2904727E0C52}"/>
              </a:ext>
            </a:extLst>
          </p:cNvPr>
          <p:cNvSpPr txBox="1"/>
          <p:nvPr/>
        </p:nvSpPr>
        <p:spPr>
          <a:xfrm>
            <a:off x="5182837" y="4527780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904DA186-DA89-3957-431A-7864F5773FC6}"/>
              </a:ext>
            </a:extLst>
          </p:cNvPr>
          <p:cNvSpPr txBox="1"/>
          <p:nvPr/>
        </p:nvSpPr>
        <p:spPr>
          <a:xfrm>
            <a:off x="3426125" y="4515299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fr-FR" sz="72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4701BFF6-3B48-E496-9C5E-79895151BFC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45366" y="1340189"/>
            <a:ext cx="3048170" cy="1607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5251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64357D4-F373-D14F-B452-E247928CCA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2A72389C-613A-6011-163A-7FAD1CDD9B21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7">
            <a:extLst>
              <a:ext uri="{FF2B5EF4-FFF2-40B4-BE49-F238E27FC236}">
                <a16:creationId xmlns:a16="http://schemas.microsoft.com/office/drawing/2014/main" id="{C5B019AA-97DD-775E-EB48-3CB00C1D43CA}"/>
              </a:ext>
            </a:extLst>
          </p:cNvPr>
          <p:cNvSpPr txBox="1"/>
          <p:nvPr/>
        </p:nvSpPr>
        <p:spPr>
          <a:xfrm>
            <a:off x="878552" y="538334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هكذا قمت بتفكيك العدد 5. العدد 5 هو 4 و1.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2F5863E0-8C2B-4CC8-8FEE-A04A8A310B1D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4801" y="507225"/>
            <a:ext cx="1095835" cy="1209831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EBF23D64-CF35-77F3-E22B-A521BC0C871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69209" y="3121634"/>
            <a:ext cx="3001988" cy="2652549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4BE39E55-F509-6674-68FF-E57090E08B8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72573" y="3140968"/>
            <a:ext cx="1221462" cy="1237120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29B4475B-A31A-BA79-3AA3-3D22A4B9A108}"/>
              </a:ext>
            </a:extLst>
          </p:cNvPr>
          <p:cNvSpPr txBox="1"/>
          <p:nvPr/>
        </p:nvSpPr>
        <p:spPr>
          <a:xfrm>
            <a:off x="4321389" y="3131920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 dirty="0"/>
              <a:t>5</a:t>
            </a:r>
            <a:endParaRPr lang="fr-FR" sz="720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B0707114-4F1E-F669-19BA-42D360F1752D}"/>
              </a:ext>
            </a:extLst>
          </p:cNvPr>
          <p:cNvSpPr txBox="1"/>
          <p:nvPr/>
        </p:nvSpPr>
        <p:spPr>
          <a:xfrm>
            <a:off x="5182837" y="4527780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031F1899-1F64-90FD-1D97-0BAAC8B62261}"/>
              </a:ext>
            </a:extLst>
          </p:cNvPr>
          <p:cNvSpPr txBox="1"/>
          <p:nvPr/>
        </p:nvSpPr>
        <p:spPr>
          <a:xfrm>
            <a:off x="3426125" y="4515299"/>
            <a:ext cx="6976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72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fr-FR" sz="72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60FBA946-24B3-532D-5B5F-54BEF02164F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45366" y="1340189"/>
            <a:ext cx="3048170" cy="1607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29706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EA6E6BE-6020-075D-3D30-AEE37E34F3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1B37C6EC-8D18-9CE9-C49C-247C7BF622FF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C8A9F3F5-AE20-31AB-097D-B2397ADEEF57}"/>
              </a:ext>
            </a:extLst>
          </p:cNvPr>
          <p:cNvSpPr txBox="1"/>
          <p:nvPr/>
        </p:nvSpPr>
        <p:spPr>
          <a:xfrm>
            <a:off x="395536" y="557363"/>
            <a:ext cx="80922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آن سنشتغل على الكراسات. خذوا الصفحة 14.</a:t>
            </a:r>
            <a:r>
              <a:rPr lang="fr-FR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النشاط رقم 2.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1A2A9608-8066-E025-1986-CECBEC21CCE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5536" y="552317"/>
            <a:ext cx="895747" cy="822553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7363A7AC-28A7-DD2D-27EF-7CDCBD11E5D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5760" y="2166599"/>
            <a:ext cx="8412480" cy="3469074"/>
          </a:xfrm>
          <a:prstGeom prst="rect">
            <a:avLst/>
          </a:prstGeom>
        </p:spPr>
      </p:pic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3576A897-8713-E18E-6052-488ABF2ABD76}"/>
              </a:ext>
            </a:extLst>
          </p:cNvPr>
          <p:cNvSpPr/>
          <p:nvPr/>
        </p:nvSpPr>
        <p:spPr>
          <a:xfrm>
            <a:off x="294968" y="1988841"/>
            <a:ext cx="8483272" cy="3824592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6730009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14343EE-4F93-51FB-7A69-89EE8B3384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8EE61EB8-70B0-637D-6B3E-0758C2B695AA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126ABA7C-B56D-B547-4CA7-FB0A65B66EA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4632" y="2166599"/>
            <a:ext cx="8463608" cy="3469074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3BB5D9F5-3802-0634-FB8B-CF69D7EFD182}"/>
              </a:ext>
            </a:extLst>
          </p:cNvPr>
          <p:cNvSpPr txBox="1"/>
          <p:nvPr/>
        </p:nvSpPr>
        <p:spPr>
          <a:xfrm>
            <a:off x="395536" y="557363"/>
            <a:ext cx="80922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لاحظوا الأقلام الملونة وقوموا بتفكيك آخر للعدد 5. سأمر بين الصفوف لمساعدتكم.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DD3C1AC6-0DDA-076D-5DD7-62051CFB0B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5536" y="552317"/>
            <a:ext cx="895747" cy="822553"/>
          </a:xfrm>
          <a:prstGeom prst="rect">
            <a:avLst/>
          </a:prstGeom>
          <a:ln>
            <a:noFill/>
          </a:ln>
          <a:effectLst/>
        </p:spPr>
      </p:pic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36290ED1-5F21-BB78-CFF9-D6BD548E3645}"/>
              </a:ext>
            </a:extLst>
          </p:cNvPr>
          <p:cNvSpPr/>
          <p:nvPr/>
        </p:nvSpPr>
        <p:spPr>
          <a:xfrm>
            <a:off x="2511553" y="2734478"/>
            <a:ext cx="2023872" cy="2715346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Flèche : bas 2">
            <a:extLst>
              <a:ext uri="{FF2B5EF4-FFF2-40B4-BE49-F238E27FC236}">
                <a16:creationId xmlns:a16="http://schemas.microsoft.com/office/drawing/2014/main" id="{F6B95496-A4C8-62B2-5254-54544781C774}"/>
              </a:ext>
            </a:extLst>
          </p:cNvPr>
          <p:cNvSpPr/>
          <p:nvPr/>
        </p:nvSpPr>
        <p:spPr>
          <a:xfrm>
            <a:off x="3392591" y="2258334"/>
            <a:ext cx="261796" cy="476144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104234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EEABA9C-BC8B-E5FB-4129-9F37B8C8D4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50B3A5D3-AAC3-0BD9-3B56-C2973F9D2B66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8830412E-AEF6-1F0D-67B7-9B2FA3133E4B}"/>
              </a:ext>
            </a:extLst>
          </p:cNvPr>
          <p:cNvSpPr txBox="1"/>
          <p:nvPr/>
        </p:nvSpPr>
        <p:spPr>
          <a:xfrm>
            <a:off x="647564" y="493832"/>
            <a:ext cx="7848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نصحح جماعة. العدد 5 هو كذلك 3 و2.</a:t>
            </a: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i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تفاعل المدرس(ة) مع التلاميذ.</a:t>
            </a:r>
            <a:endParaRPr kumimoji="0" lang="ar-MA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D49DEA2-86A6-53CB-5A9E-7D1FA075ED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140" y="361770"/>
            <a:ext cx="1569466" cy="111969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9DA71850-CE85-F575-CD5D-F54195523DB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9140" y="2166599"/>
            <a:ext cx="8429100" cy="3469074"/>
          </a:xfrm>
          <a:prstGeom prst="rect">
            <a:avLst/>
          </a:prstGeom>
        </p:spPr>
      </p:pic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4CBC4D9D-8B8C-9CFD-3823-4C3B69B0896A}"/>
              </a:ext>
            </a:extLst>
          </p:cNvPr>
          <p:cNvSpPr/>
          <p:nvPr/>
        </p:nvSpPr>
        <p:spPr>
          <a:xfrm>
            <a:off x="2511553" y="2734478"/>
            <a:ext cx="2023872" cy="2715346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E7024E01-491C-7421-5F52-860DF2F4BE69}"/>
              </a:ext>
            </a:extLst>
          </p:cNvPr>
          <p:cNvSpPr txBox="1"/>
          <p:nvPr/>
        </p:nvSpPr>
        <p:spPr>
          <a:xfrm>
            <a:off x="3706369" y="4554295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fr-FR" sz="28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76861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44D6C5D-3F8D-10E6-3138-E3B1E1FC54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B53B68A2-957C-B339-B1AA-7F99167A5575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57484EE8-EC27-B738-6C8C-97E52BA593EA}"/>
              </a:ext>
            </a:extLst>
          </p:cNvPr>
          <p:cNvSpPr txBox="1"/>
          <p:nvPr/>
        </p:nvSpPr>
        <p:spPr>
          <a:xfrm>
            <a:off x="395536" y="557363"/>
            <a:ext cx="80922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لاحظوا الأقلام الملونة وقوموا بتفكيك آخر للعدد 5. سأمر بين الصفوف لمساعدتكم.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791DB4E3-97B9-2A5E-F549-40CD6E85E2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5536" y="552317"/>
            <a:ext cx="895747" cy="822553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56042659-7F58-9929-400D-2D64B4DA54E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4465" y="2166599"/>
            <a:ext cx="8453775" cy="3469074"/>
          </a:xfrm>
          <a:prstGeom prst="rect">
            <a:avLst/>
          </a:prstGeom>
        </p:spPr>
      </p:pic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51CA0528-E7B1-FD9B-71DE-7D7881A65246}"/>
              </a:ext>
            </a:extLst>
          </p:cNvPr>
          <p:cNvSpPr/>
          <p:nvPr/>
        </p:nvSpPr>
        <p:spPr>
          <a:xfrm>
            <a:off x="4527483" y="2734478"/>
            <a:ext cx="2023872" cy="2715346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90679FDE-B6B8-A7FD-185F-83725A41411D}"/>
              </a:ext>
            </a:extLst>
          </p:cNvPr>
          <p:cNvSpPr txBox="1"/>
          <p:nvPr/>
        </p:nvSpPr>
        <p:spPr>
          <a:xfrm>
            <a:off x="3657601" y="4554295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fr-FR" sz="28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Flèche : bas 12">
            <a:extLst>
              <a:ext uri="{FF2B5EF4-FFF2-40B4-BE49-F238E27FC236}">
                <a16:creationId xmlns:a16="http://schemas.microsoft.com/office/drawing/2014/main" id="{6F6378FB-75A9-E114-DCD0-21B53ADE9F0D}"/>
              </a:ext>
            </a:extLst>
          </p:cNvPr>
          <p:cNvSpPr/>
          <p:nvPr/>
        </p:nvSpPr>
        <p:spPr>
          <a:xfrm>
            <a:off x="5408521" y="2100542"/>
            <a:ext cx="261796" cy="476144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0951063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FCF06A1-B166-7E2B-8D76-AD7CEFFB09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E6025CE7-4880-59EE-3E84-ED197DA7D528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B18B6C67-EF28-D8EC-8898-653EAC52EB90}"/>
              </a:ext>
            </a:extLst>
          </p:cNvPr>
          <p:cNvSpPr txBox="1"/>
          <p:nvPr/>
        </p:nvSpPr>
        <p:spPr>
          <a:xfrm>
            <a:off x="647564" y="493832"/>
            <a:ext cx="7848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نصحح جماعة.</a:t>
            </a:r>
            <a:r>
              <a:rPr kumimoji="0" lang="fr-FR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ar-MA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العدد 5 هو كذلك 2 و3.</a:t>
            </a: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i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تفاعل المدرس(ة) مع التلاميذ.</a:t>
            </a:r>
            <a:endParaRPr kumimoji="0" lang="ar-MA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CE5F58C4-CD7B-219D-7449-F7C932D01F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140" y="361770"/>
            <a:ext cx="1569466" cy="1119692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7DB48847-BBF9-2E3E-3BF7-AE146815FDA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6727" y="2166599"/>
            <a:ext cx="8501513" cy="3469074"/>
          </a:xfrm>
          <a:prstGeom prst="rect">
            <a:avLst/>
          </a:prstGeom>
        </p:spPr>
      </p:pic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619F4A0B-78BE-64A4-A950-08C23A86E9E3}"/>
              </a:ext>
            </a:extLst>
          </p:cNvPr>
          <p:cNvSpPr/>
          <p:nvPr/>
        </p:nvSpPr>
        <p:spPr>
          <a:xfrm>
            <a:off x="4527483" y="2734478"/>
            <a:ext cx="2023872" cy="2715346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ED9D767E-DB6E-9242-EA77-52049DE3EF23}"/>
              </a:ext>
            </a:extLst>
          </p:cNvPr>
          <p:cNvSpPr txBox="1"/>
          <p:nvPr/>
        </p:nvSpPr>
        <p:spPr>
          <a:xfrm>
            <a:off x="3657601" y="4554295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fr-FR" sz="28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89180B40-7957-39DA-F0AC-D01753D4BC81}"/>
              </a:ext>
            </a:extLst>
          </p:cNvPr>
          <p:cNvSpPr txBox="1"/>
          <p:nvPr/>
        </p:nvSpPr>
        <p:spPr>
          <a:xfrm>
            <a:off x="5707627" y="4554295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fr-FR" sz="28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48268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2DD380A-B059-F68B-4F19-A719D9E0F4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F8060223-B415-70DA-8855-CA7D433E3F43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CB2595D2-9FCC-B0A8-C68F-C6C2823F3324}"/>
              </a:ext>
            </a:extLst>
          </p:cNvPr>
          <p:cNvSpPr txBox="1"/>
          <p:nvPr/>
        </p:nvSpPr>
        <p:spPr>
          <a:xfrm>
            <a:off x="395536" y="557363"/>
            <a:ext cx="80922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لاحظوا الأقلام الملونة وقوموا بتفكيك آخر للعدد 5. سأمر بين الصفوف لمساعدتكم.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5322CD0E-88DF-0B85-F708-04CBD25958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5536" y="552317"/>
            <a:ext cx="895747" cy="822553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76BE3A9F-8DD0-ACAE-B604-DF98301098E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6727" y="2166599"/>
            <a:ext cx="8501513" cy="3469074"/>
          </a:xfrm>
          <a:prstGeom prst="rect">
            <a:avLst/>
          </a:prstGeom>
        </p:spPr>
      </p:pic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EA63C74D-AA19-18AA-E59D-6E2D8CD6F425}"/>
              </a:ext>
            </a:extLst>
          </p:cNvPr>
          <p:cNvSpPr/>
          <p:nvPr/>
        </p:nvSpPr>
        <p:spPr>
          <a:xfrm>
            <a:off x="6543094" y="2734478"/>
            <a:ext cx="2023872" cy="2715346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E999BE66-9D0F-E153-3D5F-DA52968990AC}"/>
              </a:ext>
            </a:extLst>
          </p:cNvPr>
          <p:cNvSpPr txBox="1"/>
          <p:nvPr/>
        </p:nvSpPr>
        <p:spPr>
          <a:xfrm>
            <a:off x="3657601" y="4554295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fr-FR" sz="28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Flèche : bas 12">
            <a:extLst>
              <a:ext uri="{FF2B5EF4-FFF2-40B4-BE49-F238E27FC236}">
                <a16:creationId xmlns:a16="http://schemas.microsoft.com/office/drawing/2014/main" id="{CA1DB4D2-E1D4-C326-AC7D-2853D2CA879E}"/>
              </a:ext>
            </a:extLst>
          </p:cNvPr>
          <p:cNvSpPr/>
          <p:nvPr/>
        </p:nvSpPr>
        <p:spPr>
          <a:xfrm>
            <a:off x="7424132" y="2156976"/>
            <a:ext cx="261796" cy="476144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99935536-028D-1F3F-3BE4-45A209BCF769}"/>
              </a:ext>
            </a:extLst>
          </p:cNvPr>
          <p:cNvSpPr txBox="1"/>
          <p:nvPr/>
        </p:nvSpPr>
        <p:spPr>
          <a:xfrm>
            <a:off x="5707627" y="4554295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fr-FR" sz="28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77378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BF137F-5071-86EF-BC7D-A05FA865C9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97D6BF70-B609-50B5-F128-0D526B457F0E}"/>
              </a:ext>
            </a:extLst>
          </p:cNvPr>
          <p:cNvGrpSpPr/>
          <p:nvPr/>
        </p:nvGrpSpPr>
        <p:grpSpPr>
          <a:xfrm>
            <a:off x="312516" y="143093"/>
            <a:ext cx="8518967" cy="6196583"/>
            <a:chOff x="312517" y="227366"/>
            <a:chExt cx="8518967" cy="6196583"/>
          </a:xfrm>
        </p:grpSpPr>
        <p:sp>
          <p:nvSpPr>
            <p:cNvPr id="4" name="Rectangle : coins arrondis 3">
              <a:extLst>
                <a:ext uri="{FF2B5EF4-FFF2-40B4-BE49-F238E27FC236}">
                  <a16:creationId xmlns:a16="http://schemas.microsoft.com/office/drawing/2014/main" id="{06825DB6-3E52-8938-AB94-C49AB1934F77}"/>
                </a:ext>
              </a:extLst>
            </p:cNvPr>
            <p:cNvSpPr/>
            <p:nvPr/>
          </p:nvSpPr>
          <p:spPr>
            <a:xfrm>
              <a:off x="312517" y="636608"/>
              <a:ext cx="8518967" cy="5787341"/>
            </a:xfrm>
            <a:prstGeom prst="roundRect">
              <a:avLst>
                <a:gd name="adj" fmla="val 2439"/>
              </a:avLst>
            </a:prstGeom>
            <a:solidFill>
              <a:srgbClr val="F4FAFA"/>
            </a:solidFill>
            <a:ln w="28575">
              <a:solidFill>
                <a:srgbClr val="00566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56B4B956-43A2-B7FE-F35D-64A5CB1A23E1}"/>
                </a:ext>
              </a:extLst>
            </p:cNvPr>
            <p:cNvSpPr/>
            <p:nvPr/>
          </p:nvSpPr>
          <p:spPr>
            <a:xfrm>
              <a:off x="625110" y="227366"/>
              <a:ext cx="622415" cy="562981"/>
            </a:xfrm>
            <a:custGeom>
              <a:avLst/>
              <a:gdLst/>
              <a:ahLst/>
              <a:cxnLst/>
              <a:rect l="l" t="t" r="r" b="b"/>
              <a:pathLst>
                <a:path w="1239167" h="1189600">
                  <a:moveTo>
                    <a:pt x="0" y="0"/>
                  </a:moveTo>
                  <a:lnTo>
                    <a:pt x="1239167" y="0"/>
                  </a:lnTo>
                  <a:lnTo>
                    <a:pt x="1239167" y="1189600"/>
                  </a:lnTo>
                  <a:lnTo>
                    <a:pt x="0" y="11896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MA" sz="42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osis" pitchFamily="2" charset="0"/>
                <a:ea typeface="+mn-ea"/>
                <a:cs typeface="+mn-cs"/>
              </a:endParaRPr>
            </a:p>
          </p:txBody>
        </p:sp>
        <p:sp>
          <p:nvSpPr>
            <p:cNvPr id="90" name="Rectangle : coins arrondis 89">
              <a:extLst>
                <a:ext uri="{FF2B5EF4-FFF2-40B4-BE49-F238E27FC236}">
                  <a16:creationId xmlns:a16="http://schemas.microsoft.com/office/drawing/2014/main" id="{A111852C-4360-26A7-680C-E10AF674C79B}"/>
                </a:ext>
              </a:extLst>
            </p:cNvPr>
            <p:cNvSpPr/>
            <p:nvPr/>
          </p:nvSpPr>
          <p:spPr>
            <a:xfrm flipH="1" flipV="1">
              <a:off x="2253541" y="368699"/>
              <a:ext cx="4636919" cy="532201"/>
            </a:xfrm>
            <a:prstGeom prst="roundRect">
              <a:avLst>
                <a:gd name="adj" fmla="val 50000"/>
              </a:avLst>
            </a:prstGeom>
            <a:solidFill>
              <a:srgbClr val="005664"/>
            </a:solidFill>
            <a:ln w="13658" cap="flat">
              <a:solidFill>
                <a:srgbClr val="005664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ir Strip Arabic" panose="02000500000000000000" pitchFamily="2" charset="-78"/>
                <a:ea typeface="+mn-ea"/>
                <a:cs typeface="Air Strip Arabic" panose="02000500000000000000" pitchFamily="2" charset="-78"/>
              </a:endParaRPr>
            </a:p>
          </p:txBody>
        </p:sp>
      </p:grpSp>
      <p:sp>
        <p:nvSpPr>
          <p:cNvPr id="114" name="ZoneTexte 5">
            <a:extLst>
              <a:ext uri="{FF2B5EF4-FFF2-40B4-BE49-F238E27FC236}">
                <a16:creationId xmlns:a16="http://schemas.microsoft.com/office/drawing/2014/main" id="{67D4F2B8-E3B3-F6D0-E2D8-178436CD494A}"/>
              </a:ext>
            </a:extLst>
          </p:cNvPr>
          <p:cNvSpPr txBox="1"/>
          <p:nvPr/>
        </p:nvSpPr>
        <p:spPr>
          <a:xfrm>
            <a:off x="7398676" y="277065"/>
            <a:ext cx="14328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خاص بالأستاذ</a:t>
            </a:r>
            <a:endParaRPr kumimoji="0" lang="fr-MA" sz="18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Microsoft Uighur" panose="02000000000000000000" pitchFamily="2" charset="-78"/>
              <a:ea typeface="+mn-ea"/>
              <a:cs typeface="Microsoft Uighur" panose="02000000000000000000" pitchFamily="2" charset="-78"/>
            </a:endParaRP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FE6E00ED-77EF-042D-112C-4D9B506448CE}"/>
              </a:ext>
            </a:extLst>
          </p:cNvPr>
          <p:cNvGrpSpPr/>
          <p:nvPr/>
        </p:nvGrpSpPr>
        <p:grpSpPr>
          <a:xfrm>
            <a:off x="431540" y="1609115"/>
            <a:ext cx="8280919" cy="754100"/>
            <a:chOff x="431540" y="1609115"/>
            <a:chExt cx="8280919" cy="754100"/>
          </a:xfrm>
        </p:grpSpPr>
        <p:sp>
          <p:nvSpPr>
            <p:cNvPr id="45" name="Rectangle : coins arrondis 44">
              <a:extLst>
                <a:ext uri="{FF2B5EF4-FFF2-40B4-BE49-F238E27FC236}">
                  <a16:creationId xmlns:a16="http://schemas.microsoft.com/office/drawing/2014/main" id="{5A3D4305-FB29-7796-6B8C-33685E968CAF}"/>
                </a:ext>
              </a:extLst>
            </p:cNvPr>
            <p:cNvSpPr/>
            <p:nvPr/>
          </p:nvSpPr>
          <p:spPr>
            <a:xfrm>
              <a:off x="431540" y="1609115"/>
              <a:ext cx="6729087" cy="754100"/>
            </a:xfrm>
            <a:prstGeom prst="roundRect">
              <a:avLst>
                <a:gd name="adj" fmla="val 15858"/>
              </a:avLst>
            </a:prstGeom>
            <a:solidFill>
              <a:schemeClr val="bg1"/>
            </a:solidFill>
            <a:ln>
              <a:solidFill>
                <a:srgbClr val="70B1B6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ar-MA" sz="2800" b="1" kern="0" dirty="0">
                  <a:solidFill>
                    <a:srgbClr val="106585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عد وتعداد عناصر مجموعة من 1 إلى 5</a:t>
              </a:r>
              <a:endParaRPr kumimoji="0" lang="ar-MA" sz="2800" b="1" i="0" u="none" strike="noStrike" kern="0" cap="none" spc="0" normalizeH="0" baseline="0" noProof="0" dirty="0">
                <a:ln>
                  <a:noFill/>
                </a:ln>
                <a:solidFill>
                  <a:srgbClr val="106585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4" name="Rectangle : coins arrondis 43">
              <a:extLst>
                <a:ext uri="{FF2B5EF4-FFF2-40B4-BE49-F238E27FC236}">
                  <a16:creationId xmlns:a16="http://schemas.microsoft.com/office/drawing/2014/main" id="{2BE61A74-F657-A74B-9E0C-C38627C06DC1}"/>
                </a:ext>
              </a:extLst>
            </p:cNvPr>
            <p:cNvSpPr/>
            <p:nvPr/>
          </p:nvSpPr>
          <p:spPr>
            <a:xfrm>
              <a:off x="7279652" y="1609115"/>
              <a:ext cx="1432807" cy="735122"/>
            </a:xfrm>
            <a:prstGeom prst="roundRect">
              <a:avLst>
                <a:gd name="adj" fmla="val 15212"/>
              </a:avLst>
            </a:prstGeom>
            <a:solidFill>
              <a:srgbClr val="0097B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الدرس 1</a:t>
              </a:r>
              <a:endParaRPr kumimoji="0" lang="fr-MA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69" name="ZoneTexte 68">
            <a:extLst>
              <a:ext uri="{FF2B5EF4-FFF2-40B4-BE49-F238E27FC236}">
                <a16:creationId xmlns:a16="http://schemas.microsoft.com/office/drawing/2014/main" id="{FEE33B3F-8E33-4729-2EFB-5D1D31930B24}"/>
              </a:ext>
            </a:extLst>
          </p:cNvPr>
          <p:cNvSpPr txBox="1"/>
          <p:nvPr/>
        </p:nvSpPr>
        <p:spPr>
          <a:xfrm rot="16200000">
            <a:off x="7699312" y="4395991"/>
            <a:ext cx="129757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Uighur" panose="02000000000000000000" pitchFamily="2" charset="-78"/>
                <a:ea typeface="+mn-ea"/>
                <a:cs typeface="Microsoft Uighur" panose="02000000000000000000" pitchFamily="2" charset="-78"/>
              </a:rPr>
              <a:t>الاستراتيجيات</a:t>
            </a:r>
          </a:p>
        </p:txBody>
      </p:sp>
      <p:sp>
        <p:nvSpPr>
          <p:cNvPr id="3" name="TextBox 9">
            <a:extLst>
              <a:ext uri="{FF2B5EF4-FFF2-40B4-BE49-F238E27FC236}">
                <a16:creationId xmlns:a16="http://schemas.microsoft.com/office/drawing/2014/main" id="{005BB650-C35C-07B8-6BB6-71E49C4EA744}"/>
              </a:ext>
            </a:extLst>
          </p:cNvPr>
          <p:cNvSpPr txBox="1"/>
          <p:nvPr/>
        </p:nvSpPr>
        <p:spPr>
          <a:xfrm>
            <a:off x="2025402" y="451955"/>
            <a:ext cx="4809259" cy="28321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07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تنظيم حصص الأسبوع التربوي الأول</a:t>
            </a:r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290AD0A4-56E0-7356-FBC2-AD3FE8679EBF}"/>
              </a:ext>
            </a:extLst>
          </p:cNvPr>
          <p:cNvGrpSpPr/>
          <p:nvPr/>
        </p:nvGrpSpPr>
        <p:grpSpPr>
          <a:xfrm>
            <a:off x="431541" y="2505774"/>
            <a:ext cx="8280918" cy="864000"/>
            <a:chOff x="431541" y="2505774"/>
            <a:chExt cx="8280918" cy="864000"/>
          </a:xfrm>
        </p:grpSpPr>
        <p:sp>
          <p:nvSpPr>
            <p:cNvPr id="26" name="Rectangle : coins arrondis 25">
              <a:extLst>
                <a:ext uri="{FF2B5EF4-FFF2-40B4-BE49-F238E27FC236}">
                  <a16:creationId xmlns:a16="http://schemas.microsoft.com/office/drawing/2014/main" id="{C4791D1A-237F-DFDF-87F2-967A8A1A944B}"/>
                </a:ext>
              </a:extLst>
            </p:cNvPr>
            <p:cNvSpPr/>
            <p:nvPr/>
          </p:nvSpPr>
          <p:spPr>
            <a:xfrm>
              <a:off x="431541" y="2505774"/>
              <a:ext cx="6729086" cy="864000"/>
            </a:xfrm>
            <a:prstGeom prst="roundRect">
              <a:avLst>
                <a:gd name="adj" fmla="val 15858"/>
              </a:avLst>
            </a:prstGeom>
            <a:solidFill>
              <a:schemeClr val="bg1"/>
            </a:solidFill>
            <a:ln>
              <a:solidFill>
                <a:srgbClr val="70B1B6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106585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قراءة وكتابة الأعداد من 1 إلى 5</a:t>
              </a:r>
            </a:p>
          </p:txBody>
        </p:sp>
        <p:sp>
          <p:nvSpPr>
            <p:cNvPr id="27" name="Rectangle : coins arrondis 26">
              <a:extLst>
                <a:ext uri="{FF2B5EF4-FFF2-40B4-BE49-F238E27FC236}">
                  <a16:creationId xmlns:a16="http://schemas.microsoft.com/office/drawing/2014/main" id="{7514BC20-DCAA-097A-963C-3C62B1138CEB}"/>
                </a:ext>
              </a:extLst>
            </p:cNvPr>
            <p:cNvSpPr/>
            <p:nvPr/>
          </p:nvSpPr>
          <p:spPr>
            <a:xfrm>
              <a:off x="7279652" y="2505774"/>
              <a:ext cx="1432807" cy="864000"/>
            </a:xfrm>
            <a:prstGeom prst="roundRect">
              <a:avLst>
                <a:gd name="adj" fmla="val 15212"/>
              </a:avLst>
            </a:prstGeom>
            <a:solidFill>
              <a:srgbClr val="0097B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الدرس 2</a:t>
              </a:r>
              <a:endParaRPr kumimoji="0" lang="fr-MA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4FA67F3C-BBB9-9D52-BDE4-E8F5EEFEBCE2}"/>
              </a:ext>
            </a:extLst>
          </p:cNvPr>
          <p:cNvGrpSpPr/>
          <p:nvPr/>
        </p:nvGrpSpPr>
        <p:grpSpPr>
          <a:xfrm>
            <a:off x="431541" y="3512333"/>
            <a:ext cx="8257473" cy="759828"/>
            <a:chOff x="431541" y="3512333"/>
            <a:chExt cx="8257473" cy="759828"/>
          </a:xfrm>
        </p:grpSpPr>
        <p:sp>
          <p:nvSpPr>
            <p:cNvPr id="29" name="Rectangle : coins arrondis 28">
              <a:extLst>
                <a:ext uri="{FF2B5EF4-FFF2-40B4-BE49-F238E27FC236}">
                  <a16:creationId xmlns:a16="http://schemas.microsoft.com/office/drawing/2014/main" id="{C9664CAF-E9EA-FF81-C096-F576958011E5}"/>
                </a:ext>
              </a:extLst>
            </p:cNvPr>
            <p:cNvSpPr/>
            <p:nvPr/>
          </p:nvSpPr>
          <p:spPr>
            <a:xfrm>
              <a:off x="431541" y="3512333"/>
              <a:ext cx="6729086" cy="759828"/>
            </a:xfrm>
            <a:prstGeom prst="roundRect">
              <a:avLst>
                <a:gd name="adj" fmla="val 15858"/>
              </a:avLst>
            </a:prstGeom>
            <a:solidFill>
              <a:schemeClr val="bg1"/>
            </a:solidFill>
            <a:ln>
              <a:solidFill>
                <a:srgbClr val="70B1B6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106585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تفكيك العددين 2 و3</a:t>
              </a:r>
            </a:p>
          </p:txBody>
        </p:sp>
        <p:sp>
          <p:nvSpPr>
            <p:cNvPr id="30" name="Rectangle : coins arrondis 29">
              <a:extLst>
                <a:ext uri="{FF2B5EF4-FFF2-40B4-BE49-F238E27FC236}">
                  <a16:creationId xmlns:a16="http://schemas.microsoft.com/office/drawing/2014/main" id="{9B55B03F-0996-CDCC-E5DF-A6437BA3223D}"/>
                </a:ext>
              </a:extLst>
            </p:cNvPr>
            <p:cNvSpPr/>
            <p:nvPr/>
          </p:nvSpPr>
          <p:spPr>
            <a:xfrm>
              <a:off x="7279652" y="3512333"/>
              <a:ext cx="1409362" cy="740706"/>
            </a:xfrm>
            <a:prstGeom prst="roundRect">
              <a:avLst>
                <a:gd name="adj" fmla="val 15212"/>
              </a:avLst>
            </a:prstGeom>
            <a:solidFill>
              <a:srgbClr val="0097B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الدرس 3</a:t>
              </a:r>
              <a:endParaRPr kumimoji="0" lang="fr-MA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327A861E-B72C-A2FC-59D4-349FA281790B}"/>
              </a:ext>
            </a:extLst>
          </p:cNvPr>
          <p:cNvGrpSpPr/>
          <p:nvPr/>
        </p:nvGrpSpPr>
        <p:grpSpPr>
          <a:xfrm>
            <a:off x="431539" y="4414720"/>
            <a:ext cx="8280919" cy="779876"/>
            <a:chOff x="431539" y="4414720"/>
            <a:chExt cx="8280919" cy="779876"/>
          </a:xfrm>
        </p:grpSpPr>
        <p:sp>
          <p:nvSpPr>
            <p:cNvPr id="32" name="Rectangle : coins arrondis 31">
              <a:extLst>
                <a:ext uri="{FF2B5EF4-FFF2-40B4-BE49-F238E27FC236}">
                  <a16:creationId xmlns:a16="http://schemas.microsoft.com/office/drawing/2014/main" id="{A9DABFE0-70C8-684C-B5AF-C1D7B97901FC}"/>
                </a:ext>
              </a:extLst>
            </p:cNvPr>
            <p:cNvSpPr/>
            <p:nvPr/>
          </p:nvSpPr>
          <p:spPr>
            <a:xfrm>
              <a:off x="431539" y="4414720"/>
              <a:ext cx="6729087" cy="764236"/>
            </a:xfrm>
            <a:prstGeom prst="roundRect">
              <a:avLst>
                <a:gd name="adj" fmla="val 15858"/>
              </a:avLst>
            </a:prstGeom>
            <a:solidFill>
              <a:schemeClr val="bg1"/>
            </a:solidFill>
            <a:ln>
              <a:solidFill>
                <a:srgbClr val="70B1B6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106585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تفكيك العددين 4 و5</a:t>
              </a:r>
            </a:p>
          </p:txBody>
        </p:sp>
        <p:sp>
          <p:nvSpPr>
            <p:cNvPr id="33" name="Rectangle : coins arrondis 32">
              <a:extLst>
                <a:ext uri="{FF2B5EF4-FFF2-40B4-BE49-F238E27FC236}">
                  <a16:creationId xmlns:a16="http://schemas.microsoft.com/office/drawing/2014/main" id="{78F93B5D-E5A1-C1F3-EA0E-CE08E76CD02C}"/>
                </a:ext>
              </a:extLst>
            </p:cNvPr>
            <p:cNvSpPr/>
            <p:nvPr/>
          </p:nvSpPr>
          <p:spPr>
            <a:xfrm>
              <a:off x="7279651" y="4414720"/>
              <a:ext cx="1432807" cy="779876"/>
            </a:xfrm>
            <a:prstGeom prst="roundRect">
              <a:avLst>
                <a:gd name="adj" fmla="val 15212"/>
              </a:avLst>
            </a:prstGeom>
            <a:solidFill>
              <a:srgbClr val="0097B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MA" sz="2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الدرس 4</a:t>
              </a:r>
              <a:endParaRPr kumimoji="0" lang="fr-MA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36" name="Rectangle : coins arrondis 35">
            <a:extLst>
              <a:ext uri="{FF2B5EF4-FFF2-40B4-BE49-F238E27FC236}">
                <a16:creationId xmlns:a16="http://schemas.microsoft.com/office/drawing/2014/main" id="{83B9A300-CA53-64F3-F908-C262E606C7CC}"/>
              </a:ext>
            </a:extLst>
          </p:cNvPr>
          <p:cNvSpPr/>
          <p:nvPr/>
        </p:nvSpPr>
        <p:spPr>
          <a:xfrm>
            <a:off x="431540" y="5337155"/>
            <a:ext cx="8280918" cy="779876"/>
          </a:xfrm>
          <a:prstGeom prst="roundRect">
            <a:avLst>
              <a:gd name="adj" fmla="val 15212"/>
            </a:avLst>
          </a:prstGeom>
          <a:solidFill>
            <a:srgbClr val="0097B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مراجعة دروس الأسبوع الأول </a:t>
            </a:r>
            <a:endParaRPr kumimoji="0" lang="fr-MA" sz="2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719107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1678DE7-A3E7-40DE-BE95-053CEA17B5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F2995F22-6B51-E5FE-0392-4C2624FE3D34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64540A1D-9C74-9EDF-2DCE-57B7E75281FA}"/>
              </a:ext>
            </a:extLst>
          </p:cNvPr>
          <p:cNvSpPr txBox="1"/>
          <p:nvPr/>
        </p:nvSpPr>
        <p:spPr>
          <a:xfrm>
            <a:off x="647564" y="493832"/>
            <a:ext cx="7848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نصحح جماعة.</a:t>
            </a:r>
            <a:r>
              <a:rPr kumimoji="0" lang="fr-FR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ar-MA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العدد 5 هو كذلك 1 و4.</a:t>
            </a: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i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تفاعل المدرس(ة) مع التلاميذ.</a:t>
            </a:r>
            <a:endParaRPr kumimoji="0" lang="ar-MA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E52502BD-46C1-7605-3C20-D3C1A0B31C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140" y="361770"/>
            <a:ext cx="1569466" cy="111969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E7E1D65F-4CE9-B3B3-3EA1-E37B5FAB5E4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6727" y="2166599"/>
            <a:ext cx="8501513" cy="3469074"/>
          </a:xfrm>
          <a:prstGeom prst="rect">
            <a:avLst/>
          </a:prstGeom>
        </p:spPr>
      </p:pic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02C87244-771E-474E-FA1D-335B75C7FE9F}"/>
              </a:ext>
            </a:extLst>
          </p:cNvPr>
          <p:cNvSpPr/>
          <p:nvPr/>
        </p:nvSpPr>
        <p:spPr>
          <a:xfrm>
            <a:off x="6543094" y="2734478"/>
            <a:ext cx="2023872" cy="2715346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0A130ECB-E073-8219-F4D8-9EC13CAF10CA}"/>
              </a:ext>
            </a:extLst>
          </p:cNvPr>
          <p:cNvSpPr txBox="1"/>
          <p:nvPr/>
        </p:nvSpPr>
        <p:spPr>
          <a:xfrm>
            <a:off x="3657601" y="4554295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fr-FR" sz="28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C6678239-CCD8-1ED9-A86D-CC2D12EFF94A}"/>
              </a:ext>
            </a:extLst>
          </p:cNvPr>
          <p:cNvSpPr txBox="1"/>
          <p:nvPr/>
        </p:nvSpPr>
        <p:spPr>
          <a:xfrm>
            <a:off x="5707627" y="4554295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fr-FR" sz="28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773A1FA0-8022-0D23-AE9A-C80DA6973CDE}"/>
              </a:ext>
            </a:extLst>
          </p:cNvPr>
          <p:cNvSpPr txBox="1"/>
          <p:nvPr/>
        </p:nvSpPr>
        <p:spPr>
          <a:xfrm>
            <a:off x="7708490" y="4564127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fr-FR" sz="28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047505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C75046-D327-CBCA-5FD2-A7FA559A8F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2F7C0A4B-B1F0-ABD8-D604-EA7FE6BF6440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5555" b="-5555"/>
            </a:stretch>
          </a:blipFill>
        </p:spPr>
        <p:txBody>
          <a:bodyPr/>
          <a:lstStyle/>
          <a:p>
            <a:pPr defTabSz="609660">
              <a:defRPr/>
            </a:pPr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Ellipse 62">
            <a:extLst>
              <a:ext uri="{FF2B5EF4-FFF2-40B4-BE49-F238E27FC236}">
                <a16:creationId xmlns:a16="http://schemas.microsoft.com/office/drawing/2014/main" id="{D7083EFA-4931-086B-4677-E559A61DC1E2}"/>
              </a:ext>
            </a:extLst>
          </p:cNvPr>
          <p:cNvSpPr/>
          <p:nvPr/>
        </p:nvSpPr>
        <p:spPr>
          <a:xfrm>
            <a:off x="1196648" y="46409"/>
            <a:ext cx="6811591" cy="6811591"/>
          </a:xfrm>
          <a:prstGeom prst="ellipse">
            <a:avLst/>
          </a:prstGeom>
          <a:solidFill>
            <a:srgbClr val="D6E9EA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F7B80CEE-EF85-F60C-1AD2-8ACD885F40CD}"/>
              </a:ext>
            </a:extLst>
          </p:cNvPr>
          <p:cNvSpPr txBox="1"/>
          <p:nvPr/>
        </p:nvSpPr>
        <p:spPr>
          <a:xfrm>
            <a:off x="1380413" y="2667001"/>
            <a:ext cx="6444063" cy="6779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60" rtl="1">
              <a:lnSpc>
                <a:spcPts val="5486"/>
              </a:lnSpc>
              <a:defRPr/>
            </a:pPr>
            <a:r>
              <a:rPr lang="ar-MA" sz="4400" b="1" dirty="0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. أنشطة تمهيدية 3/3 </a:t>
            </a:r>
            <a:endParaRPr lang="ar-MA" sz="1600" b="1" dirty="0">
              <a:solidFill>
                <a:srgbClr val="106585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BF2ECF8D-27F6-F5DD-06AA-B8EF94921124}"/>
              </a:ext>
            </a:extLst>
          </p:cNvPr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60966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858F755C-F06E-B25D-B5A7-240CFF8CEA67}"/>
              </a:ext>
            </a:extLst>
          </p:cNvPr>
          <p:cNvSpPr/>
          <p:nvPr/>
        </p:nvSpPr>
        <p:spPr>
          <a:xfrm>
            <a:off x="7804156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60966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D62EDB2A-6233-5C90-30CD-C686608A86D1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923928" y="3717032"/>
            <a:ext cx="1472378" cy="218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42344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2EEA710-7E3C-382C-774D-0008505E4A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64CCDC9B-55DA-618E-53C4-D507DC929EAA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7">
            <a:extLst>
              <a:ext uri="{FF2B5EF4-FFF2-40B4-BE49-F238E27FC236}">
                <a16:creationId xmlns:a16="http://schemas.microsoft.com/office/drawing/2014/main" id="{EF66B6B0-CCAB-0514-A03D-26E48FE2740E}"/>
              </a:ext>
            </a:extLst>
          </p:cNvPr>
          <p:cNvSpPr txBox="1"/>
          <p:nvPr/>
        </p:nvSpPr>
        <p:spPr>
          <a:xfrm>
            <a:off x="890583" y="550366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sz="18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تبهوا. سأقوم بالجزء الأول من النشاط 3 ... سأعد الأقراص وأفكك العدد 4. 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3340B475-5534-AFF2-BB3B-64F962A34745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550366"/>
            <a:ext cx="1116120" cy="1113235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4CA116C9-2E29-2537-FEC4-80BA5D1102B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7216" y="2225962"/>
            <a:ext cx="8445249" cy="3112499"/>
          </a:xfrm>
          <a:prstGeom prst="rect">
            <a:avLst/>
          </a:prstGeom>
        </p:spPr>
      </p:pic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5063B56D-B148-75EE-78E4-DC84FA9715BF}"/>
              </a:ext>
            </a:extLst>
          </p:cNvPr>
          <p:cNvSpPr/>
          <p:nvPr/>
        </p:nvSpPr>
        <p:spPr>
          <a:xfrm>
            <a:off x="560832" y="2664218"/>
            <a:ext cx="1987296" cy="2456422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Flèche : bas 9">
            <a:extLst>
              <a:ext uri="{FF2B5EF4-FFF2-40B4-BE49-F238E27FC236}">
                <a16:creationId xmlns:a16="http://schemas.microsoft.com/office/drawing/2014/main" id="{8E6E2A29-55C4-93ED-ED2C-2D1E65E2B036}"/>
              </a:ext>
            </a:extLst>
          </p:cNvPr>
          <p:cNvSpPr/>
          <p:nvPr/>
        </p:nvSpPr>
        <p:spPr>
          <a:xfrm>
            <a:off x="1423582" y="2144966"/>
            <a:ext cx="261796" cy="476144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4361818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A02FE15-6C0B-7F5B-24B0-BA728204FA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D471CBD9-B12A-0848-FB90-078AD261BA3D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7">
            <a:extLst>
              <a:ext uri="{FF2B5EF4-FFF2-40B4-BE49-F238E27FC236}">
                <a16:creationId xmlns:a16="http://schemas.microsoft.com/office/drawing/2014/main" id="{51DEBADA-184F-6CDA-BC8F-C8E8491E453A}"/>
              </a:ext>
            </a:extLst>
          </p:cNvPr>
          <p:cNvSpPr txBox="1"/>
          <p:nvPr/>
        </p:nvSpPr>
        <p:spPr>
          <a:xfrm>
            <a:off x="890583" y="473906"/>
            <a:ext cx="76328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لدينا 4 أقراص: قرصان أحمران وقرصان أزرقان. إذن العدد 4 هو 2 و2.</a:t>
            </a:r>
          </a:p>
          <a:p>
            <a:pPr algn="r" rtl="1"/>
            <a:r>
              <a:rPr lang="ar-MA" sz="18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لدينا 2 في الدائرة الحمراء. أكتب 2 في الدائرة الزرقاء.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005D0A78-CF51-2679-B7CE-E79D24DA970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550366"/>
            <a:ext cx="1116120" cy="1113235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95E9A98D-BDCF-37DD-E0FC-B70788A2EDD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7216" y="2225962"/>
            <a:ext cx="8445249" cy="3112499"/>
          </a:xfrm>
          <a:prstGeom prst="rect">
            <a:avLst/>
          </a:prstGeom>
        </p:spPr>
      </p:pic>
      <p:sp>
        <p:nvSpPr>
          <p:cNvPr id="6" name="Ellipse 5">
            <a:extLst>
              <a:ext uri="{FF2B5EF4-FFF2-40B4-BE49-F238E27FC236}">
                <a16:creationId xmlns:a16="http://schemas.microsoft.com/office/drawing/2014/main" id="{CBBE92EB-B40E-CE47-8680-1CE6ADE33420}"/>
              </a:ext>
            </a:extLst>
          </p:cNvPr>
          <p:cNvSpPr/>
          <p:nvPr/>
        </p:nvSpPr>
        <p:spPr>
          <a:xfrm>
            <a:off x="902775" y="2840736"/>
            <a:ext cx="730953" cy="551688"/>
          </a:xfrm>
          <a:prstGeom prst="ellipse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Rectangle : coins arrondis 9">
            <a:extLst>
              <a:ext uri="{FF2B5EF4-FFF2-40B4-BE49-F238E27FC236}">
                <a16:creationId xmlns:a16="http://schemas.microsoft.com/office/drawing/2014/main" id="{6ED08410-86D0-B62D-7B5D-01188E6BC13F}"/>
              </a:ext>
            </a:extLst>
          </p:cNvPr>
          <p:cNvSpPr/>
          <p:nvPr/>
        </p:nvSpPr>
        <p:spPr>
          <a:xfrm>
            <a:off x="560832" y="2664218"/>
            <a:ext cx="1987296" cy="2456422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5C01A16A-A1BD-C1BE-B5F7-BB4F5AD0E64E}"/>
              </a:ext>
            </a:extLst>
          </p:cNvPr>
          <p:cNvSpPr/>
          <p:nvPr/>
        </p:nvSpPr>
        <p:spPr>
          <a:xfrm>
            <a:off x="1567239" y="2871216"/>
            <a:ext cx="730953" cy="551688"/>
          </a:xfrm>
          <a:prstGeom prst="ellipse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C6435E7D-35B5-5D79-52C7-F37A2C2413AF}"/>
              </a:ext>
            </a:extLst>
          </p:cNvPr>
          <p:cNvSpPr txBox="1"/>
          <p:nvPr/>
        </p:nvSpPr>
        <p:spPr>
          <a:xfrm>
            <a:off x="1730362" y="4227869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2</a:t>
            </a:r>
            <a:endParaRPr lang="fr-FR" sz="28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06117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6BCBBA6-9C83-8395-E380-920E5C77B5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72A63E77-2D81-56E9-3177-F16508D53AE3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7">
            <a:extLst>
              <a:ext uri="{FF2B5EF4-FFF2-40B4-BE49-F238E27FC236}">
                <a16:creationId xmlns:a16="http://schemas.microsoft.com/office/drawing/2014/main" id="{DCF3EA99-1149-E86E-DC3D-86D323964DD2}"/>
              </a:ext>
            </a:extLst>
          </p:cNvPr>
          <p:cNvSpPr txBox="1"/>
          <p:nvPr/>
        </p:nvSpPr>
        <p:spPr>
          <a:xfrm>
            <a:off x="803416" y="539311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خذوا الكراسات لإنجاز النشاط 3 في الصفحة 14.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DC44259B-8B93-4782-E9D9-889F57A8C88F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550366"/>
            <a:ext cx="1116120" cy="1113235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F4BD9D02-4AF1-CD2C-3923-F6CAE52E4EE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7217" y="2212528"/>
            <a:ext cx="8445247" cy="3139368"/>
          </a:xfrm>
          <a:prstGeom prst="rect">
            <a:avLst/>
          </a:prstGeom>
        </p:spPr>
      </p:pic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3AF67FE6-C28B-61C7-1D66-0B7B4205ACBE}"/>
              </a:ext>
            </a:extLst>
          </p:cNvPr>
          <p:cNvSpPr/>
          <p:nvPr/>
        </p:nvSpPr>
        <p:spPr>
          <a:xfrm>
            <a:off x="349664" y="2016731"/>
            <a:ext cx="8540928" cy="3662174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7451760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5004D84-7126-99B8-B221-4F062ECE5D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7573AFFA-7CCA-46F8-C75E-21D51876FE55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7">
            <a:extLst>
              <a:ext uri="{FF2B5EF4-FFF2-40B4-BE49-F238E27FC236}">
                <a16:creationId xmlns:a16="http://schemas.microsoft.com/office/drawing/2014/main" id="{A5882628-4CD1-336F-567A-9CA7C6240979}"/>
              </a:ext>
            </a:extLst>
          </p:cNvPr>
          <p:cNvSpPr txBox="1"/>
          <p:nvPr/>
        </p:nvSpPr>
        <p:spPr>
          <a:xfrm>
            <a:off x="803416" y="539311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قوموا بعد الأقراص، وأكملوا تفكيك العددين 5 و4. سأمر بين الصفوف لمساعدتكم.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9566E12F-FC1F-08A7-9184-19C33834C09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550366"/>
            <a:ext cx="1116120" cy="1113235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F24E8DED-855A-F3CA-4788-5A5E1D81A9A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7217" y="2212528"/>
            <a:ext cx="8382989" cy="3139368"/>
          </a:xfrm>
          <a:prstGeom prst="rect">
            <a:avLst/>
          </a:prstGeom>
        </p:spPr>
      </p:pic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8A097D9-42B5-A27D-4864-3B8BB42CA899}"/>
              </a:ext>
            </a:extLst>
          </p:cNvPr>
          <p:cNvSpPr/>
          <p:nvPr/>
        </p:nvSpPr>
        <p:spPr>
          <a:xfrm>
            <a:off x="2595717" y="2579709"/>
            <a:ext cx="6056672" cy="2562562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Flèche : bas 7">
            <a:extLst>
              <a:ext uri="{FF2B5EF4-FFF2-40B4-BE49-F238E27FC236}">
                <a16:creationId xmlns:a16="http://schemas.microsoft.com/office/drawing/2014/main" id="{69515B0D-65A1-DA3E-FB79-9D999003A195}"/>
              </a:ext>
            </a:extLst>
          </p:cNvPr>
          <p:cNvSpPr/>
          <p:nvPr/>
        </p:nvSpPr>
        <p:spPr>
          <a:xfrm>
            <a:off x="5700614" y="2035789"/>
            <a:ext cx="261796" cy="476144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956038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2607069-60DF-B118-FDCB-4995EF2EED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A32FD65B-FAF3-6DA7-C928-950D44178A99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F2C88C05-5B2C-0F19-24D1-B7749A3A0729}"/>
              </a:ext>
            </a:extLst>
          </p:cNvPr>
          <p:cNvSpPr txBox="1"/>
          <p:nvPr/>
        </p:nvSpPr>
        <p:spPr>
          <a:xfrm>
            <a:off x="647564" y="493832"/>
            <a:ext cx="7848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نصحح جماعة.</a:t>
            </a: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i="1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تفاعل المدرس(ة) مع التلاميذ.</a:t>
            </a:r>
            <a:endParaRPr kumimoji="0" lang="ar-MA" i="1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6D3753DD-4A15-BC91-2E80-5F80965E5C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140" y="361770"/>
            <a:ext cx="1569466" cy="111969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20C78FE2-5FC1-6D77-309B-790557B07E1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7217" y="2212528"/>
            <a:ext cx="8382989" cy="3139368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707CF925-0E71-FB4F-1B6B-372F086266F0}"/>
              </a:ext>
            </a:extLst>
          </p:cNvPr>
          <p:cNvSpPr txBox="1"/>
          <p:nvPr/>
        </p:nvSpPr>
        <p:spPr>
          <a:xfrm>
            <a:off x="3687419" y="4257365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3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496E622-9927-E2B6-BDC0-2DC1C6B5E3E7}"/>
              </a:ext>
            </a:extLst>
          </p:cNvPr>
          <p:cNvSpPr txBox="1"/>
          <p:nvPr/>
        </p:nvSpPr>
        <p:spPr>
          <a:xfrm>
            <a:off x="5717562" y="4257365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4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85EE499F-A2B5-D362-5FE1-4D6384838A2E}"/>
              </a:ext>
            </a:extLst>
          </p:cNvPr>
          <p:cNvSpPr txBox="1"/>
          <p:nvPr/>
        </p:nvSpPr>
        <p:spPr>
          <a:xfrm>
            <a:off x="7698937" y="4257365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1</a:t>
            </a:r>
            <a:endParaRPr lang="fr-FR" sz="28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1840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4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77FC0D-F386-3377-7F0C-D39DF5771C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8BBB3691-246B-96FA-37BA-6FE771889FCA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5555" b="-5555"/>
            </a:stretch>
          </a:blipFill>
        </p:spPr>
        <p:txBody>
          <a:bodyPr/>
          <a:lstStyle/>
          <a:p>
            <a:pPr defTabSz="609630">
              <a:defRPr/>
            </a:pPr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Ellipse 62">
            <a:extLst>
              <a:ext uri="{FF2B5EF4-FFF2-40B4-BE49-F238E27FC236}">
                <a16:creationId xmlns:a16="http://schemas.microsoft.com/office/drawing/2014/main" id="{4B9491D0-B291-D9EA-658C-EF0E1FC66E54}"/>
              </a:ext>
            </a:extLst>
          </p:cNvPr>
          <p:cNvSpPr/>
          <p:nvPr/>
        </p:nvSpPr>
        <p:spPr>
          <a:xfrm>
            <a:off x="1196648" y="46409"/>
            <a:ext cx="6811591" cy="6811591"/>
          </a:xfrm>
          <a:prstGeom prst="ellipse">
            <a:avLst/>
          </a:prstGeom>
          <a:solidFill>
            <a:srgbClr val="D6E9EA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346EBC9-4F2C-B60B-634D-66FA694C9CE1}"/>
              </a:ext>
            </a:extLst>
          </p:cNvPr>
          <p:cNvSpPr txBox="1"/>
          <p:nvPr/>
        </p:nvSpPr>
        <p:spPr>
          <a:xfrm>
            <a:off x="1187624" y="2308091"/>
            <a:ext cx="6444063" cy="6779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30" rtl="1">
              <a:lnSpc>
                <a:spcPts val="5486"/>
              </a:lnSpc>
              <a:defRPr/>
            </a:pPr>
            <a:r>
              <a:rPr lang="ar-MA" sz="4400" b="1" dirty="0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. النشاط الرئيسي</a:t>
            </a:r>
            <a:endParaRPr lang="ar-MA" sz="1600" b="1" dirty="0">
              <a:solidFill>
                <a:srgbClr val="106585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6C5BE00B-1886-F465-D216-6F796976D94F}"/>
              </a:ext>
            </a:extLst>
          </p:cNvPr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60963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E57E8D48-8C69-6DF2-6E67-F682F30B7644}"/>
              </a:ext>
            </a:extLst>
          </p:cNvPr>
          <p:cNvSpPr/>
          <p:nvPr/>
        </p:nvSpPr>
        <p:spPr>
          <a:xfrm>
            <a:off x="7804155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60963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ACC30236-B447-B169-9405-9DC9EF6FBA20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476472" y="3396921"/>
            <a:ext cx="2191056" cy="2362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695352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59391A7-56A4-5531-97EF-F686B5D880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21E85293-3D76-B8DB-6F57-6B10D484C4A7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8C8ECF37-C153-40B9-E302-088C025F2CF1}"/>
              </a:ext>
            </a:extLst>
          </p:cNvPr>
          <p:cNvSpPr txBox="1"/>
          <p:nvPr/>
        </p:nvSpPr>
        <p:spPr>
          <a:xfrm>
            <a:off x="304801" y="529064"/>
            <a:ext cx="8092279" cy="37965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سننتقل الآن إلى النشاط الرئيسي.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34E343FD-CA2C-B54A-BB5D-56AB899E082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4801" y="507225"/>
            <a:ext cx="1095835" cy="1209831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4AF7088A-26DB-01D8-6F6B-4199AFE3D7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3240" y="1717056"/>
            <a:ext cx="7757518" cy="4169007"/>
          </a:xfrm>
          <a:prstGeom prst="rect">
            <a:avLst/>
          </a:prstGeom>
        </p:spPr>
      </p:pic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C952CC27-6EC9-ACD6-1D17-286356C6FE08}"/>
              </a:ext>
            </a:extLst>
          </p:cNvPr>
          <p:cNvSpPr/>
          <p:nvPr/>
        </p:nvSpPr>
        <p:spPr>
          <a:xfrm>
            <a:off x="424795" y="1688489"/>
            <a:ext cx="8294409" cy="4338690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242793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8A9025F-5269-ABB9-AB29-43B336415C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C9DBAA36-8652-04C7-72ED-78C2789B1AD7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29AD50D3-BAEC-8652-8A88-F347A09E6F0A}"/>
              </a:ext>
            </a:extLst>
          </p:cNvPr>
          <p:cNvSpPr txBox="1"/>
          <p:nvPr/>
        </p:nvSpPr>
        <p:spPr>
          <a:xfrm>
            <a:off x="304801" y="529064"/>
            <a:ext cx="8092279" cy="37965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تبهوا. سأقوم بتفكيك للعدد 4.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D3C42DC2-D7B2-3E61-18BF-686A7D56BD7C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4801" y="507225"/>
            <a:ext cx="1095835" cy="1209831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05B0492E-78D1-B28F-E074-F1C0360E395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1239" y="2555378"/>
            <a:ext cx="8538129" cy="2253951"/>
          </a:xfrm>
          <a:prstGeom prst="rect">
            <a:avLst/>
          </a:prstGeom>
        </p:spPr>
      </p:pic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B966FAB3-A5BD-496F-B206-A7DDD74F1746}"/>
              </a:ext>
            </a:extLst>
          </p:cNvPr>
          <p:cNvSpPr/>
          <p:nvPr/>
        </p:nvSpPr>
        <p:spPr>
          <a:xfrm>
            <a:off x="1079469" y="2862997"/>
            <a:ext cx="1512168" cy="1889148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Flèche : bas 9">
            <a:extLst>
              <a:ext uri="{FF2B5EF4-FFF2-40B4-BE49-F238E27FC236}">
                <a16:creationId xmlns:a16="http://schemas.microsoft.com/office/drawing/2014/main" id="{630EBFFF-6035-087D-C3A0-DF7BB17CD488}"/>
              </a:ext>
            </a:extLst>
          </p:cNvPr>
          <p:cNvSpPr/>
          <p:nvPr/>
        </p:nvSpPr>
        <p:spPr>
          <a:xfrm>
            <a:off x="1583525" y="2145898"/>
            <a:ext cx="504056" cy="649074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490165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5555" b="-5555"/>
            </a:stretch>
          </a:blipFill>
        </p:spPr>
        <p:txBody>
          <a:bodyPr/>
          <a:lstStyle/>
          <a:p>
            <a:pPr defTabSz="609630">
              <a:defRPr/>
            </a:pPr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4" name="Ellipse 62">
            <a:extLst>
              <a:ext uri="{FF2B5EF4-FFF2-40B4-BE49-F238E27FC236}">
                <a16:creationId xmlns:a16="http://schemas.microsoft.com/office/drawing/2014/main" id="{2C006488-52ED-147E-51E9-AE6057E4CCF8}"/>
              </a:ext>
            </a:extLst>
          </p:cNvPr>
          <p:cNvSpPr/>
          <p:nvPr/>
        </p:nvSpPr>
        <p:spPr>
          <a:xfrm>
            <a:off x="1322451" y="46409"/>
            <a:ext cx="6811591" cy="6811591"/>
          </a:xfrm>
          <a:prstGeom prst="ellipse">
            <a:avLst/>
          </a:prstGeom>
          <a:solidFill>
            <a:srgbClr val="D6E9EA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6" name="TextBox 6"/>
          <p:cNvSpPr txBox="1"/>
          <p:nvPr/>
        </p:nvSpPr>
        <p:spPr>
          <a:xfrm>
            <a:off x="1005884" y="1556792"/>
            <a:ext cx="7132233" cy="7053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30">
              <a:lnSpc>
                <a:spcPts val="5486"/>
              </a:lnSpc>
              <a:defRPr/>
            </a:pPr>
            <a:r>
              <a:rPr lang="ar-MA" sz="4800" b="1" dirty="0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درس اليوم</a:t>
            </a:r>
          </a:p>
        </p:txBody>
      </p:sp>
      <p:sp>
        <p:nvSpPr>
          <p:cNvPr id="9" name="Freeform 9"/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60963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/>
          <p:cNvSpPr/>
          <p:nvPr/>
        </p:nvSpPr>
        <p:spPr>
          <a:xfrm>
            <a:off x="7804155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60963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TextBox 7">
            <a:extLst>
              <a:ext uri="{FF2B5EF4-FFF2-40B4-BE49-F238E27FC236}">
                <a16:creationId xmlns:a16="http://schemas.microsoft.com/office/drawing/2014/main" id="{5D5EC3F9-B576-AAD3-32E6-690B5DFDA61D}"/>
              </a:ext>
            </a:extLst>
          </p:cNvPr>
          <p:cNvSpPr txBox="1"/>
          <p:nvPr/>
        </p:nvSpPr>
        <p:spPr>
          <a:xfrm>
            <a:off x="179513" y="2996952"/>
            <a:ext cx="8784975" cy="662361"/>
          </a:xfrm>
          <a:prstGeom prst="rect">
            <a:avLst/>
          </a:prstGeom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150000"/>
              </a:lnSpc>
            </a:pPr>
            <a:r>
              <a:rPr lang="ar-MA" sz="3200" b="1" dirty="0">
                <a:solidFill>
                  <a:srgbClr val="3795A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تفكيك العددين 4 و5.</a:t>
            </a:r>
          </a:p>
        </p:txBody>
      </p:sp>
    </p:spTree>
    <p:extLst>
      <p:ext uri="{BB962C8B-B14F-4D97-AF65-F5344CB8AC3E}">
        <p14:creationId xmlns:p14="http://schemas.microsoft.com/office/powerpoint/2010/main" val="345636543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F3FBD9B-CD34-4D1F-A528-8B26606F68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90A86301-1CAA-223E-D01F-C1554CC11A50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D3898ADB-2ADE-11B0-5942-35277D5B5EBB}"/>
              </a:ext>
            </a:extLst>
          </p:cNvPr>
          <p:cNvSpPr txBox="1"/>
          <p:nvPr/>
        </p:nvSpPr>
        <p:spPr>
          <a:xfrm>
            <a:off x="304801" y="465809"/>
            <a:ext cx="8092279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مكن تفكيك العدد 4 إلى 1 و3. نكتب 1 في الدائرة الحمراء و3 في الدائرة الزرقاء.</a:t>
            </a:r>
          </a:p>
          <a:p>
            <a:pPr algn="r" rtl="1"/>
            <a:r>
              <a:rPr lang="ar-MA" i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مكن أن يستعين الأستاذ بالمكعبات لنمذجة التفكيك.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B59EAA76-685E-DA41-7E7A-557577C1C91F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4801" y="507225"/>
            <a:ext cx="1095835" cy="1209831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CD9163AF-F53D-841D-44E4-1FE36F5A7E1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1240" y="2555378"/>
            <a:ext cx="8508632" cy="2253951"/>
          </a:xfrm>
          <a:prstGeom prst="rect">
            <a:avLst/>
          </a:prstGeom>
        </p:spPr>
      </p:pic>
      <p:sp>
        <p:nvSpPr>
          <p:cNvPr id="6" name="Rectangle : coins arrondis 5">
            <a:extLst>
              <a:ext uri="{FF2B5EF4-FFF2-40B4-BE49-F238E27FC236}">
                <a16:creationId xmlns:a16="http://schemas.microsoft.com/office/drawing/2014/main" id="{7085F3AC-345C-AFC6-0112-64A9ED787983}"/>
              </a:ext>
            </a:extLst>
          </p:cNvPr>
          <p:cNvSpPr/>
          <p:nvPr/>
        </p:nvSpPr>
        <p:spPr>
          <a:xfrm>
            <a:off x="1079469" y="2862997"/>
            <a:ext cx="1512168" cy="1889148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2769FCA5-A986-2635-F008-E99311841332}"/>
              </a:ext>
            </a:extLst>
          </p:cNvPr>
          <p:cNvSpPr txBox="1"/>
          <p:nvPr/>
        </p:nvSpPr>
        <p:spPr>
          <a:xfrm>
            <a:off x="1257275" y="3848394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1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97D0A0CC-F7BB-AE10-C48C-BBEAFA6384E6}"/>
              </a:ext>
            </a:extLst>
          </p:cNvPr>
          <p:cNvSpPr txBox="1"/>
          <p:nvPr/>
        </p:nvSpPr>
        <p:spPr>
          <a:xfrm>
            <a:off x="2004268" y="3838562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3</a:t>
            </a:r>
            <a:endParaRPr lang="fr-FR" sz="28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73085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2953363-631A-F6E4-13BB-B3CB6D61BB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F6E568F7-368A-FC07-6378-917CC7E954B0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88DF61F5-1885-9CE6-3958-2708A9778C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8706" y="529064"/>
            <a:ext cx="1440305" cy="1234547"/>
          </a:xfrm>
          <a:prstGeom prst="rect">
            <a:avLst/>
          </a:prstGeom>
        </p:spPr>
      </p:pic>
      <p:sp>
        <p:nvSpPr>
          <p:cNvPr id="7" name="ZoneTexte 4">
            <a:extLst>
              <a:ext uri="{FF2B5EF4-FFF2-40B4-BE49-F238E27FC236}">
                <a16:creationId xmlns:a16="http://schemas.microsoft.com/office/drawing/2014/main" id="{88A82FB8-6394-3A45-537A-EBFDB0AA9197}"/>
              </a:ext>
            </a:extLst>
          </p:cNvPr>
          <p:cNvSpPr txBox="1"/>
          <p:nvPr/>
        </p:nvSpPr>
        <p:spPr>
          <a:xfrm>
            <a:off x="304801" y="539388"/>
            <a:ext cx="80922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نبغي أن نتذكر تفكيك العدد 4.  العدد 4 هو ... و... ؟</a:t>
            </a:r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B9ADC237-8DBA-F8F9-C3D1-698165BB5A91}"/>
              </a:ext>
            </a:extLst>
          </p:cNvPr>
          <p:cNvGrpSpPr/>
          <p:nvPr/>
        </p:nvGrpSpPr>
        <p:grpSpPr>
          <a:xfrm>
            <a:off x="3451124" y="2337621"/>
            <a:ext cx="2393281" cy="2114697"/>
            <a:chOff x="6352673" y="2371651"/>
            <a:chExt cx="2393281" cy="2114697"/>
          </a:xfrm>
        </p:grpSpPr>
        <p:pic>
          <p:nvPicPr>
            <p:cNvPr id="3" name="Image 2">
              <a:extLst>
                <a:ext uri="{FF2B5EF4-FFF2-40B4-BE49-F238E27FC236}">
                  <a16:creationId xmlns:a16="http://schemas.microsoft.com/office/drawing/2014/main" id="{56C79AE7-1209-3E5B-C8CA-E11F6E30D82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352673" y="2371651"/>
              <a:ext cx="2393281" cy="2114697"/>
            </a:xfrm>
            <a:prstGeom prst="rect">
              <a:avLst/>
            </a:prstGeom>
          </p:spPr>
        </p:pic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id="{38001111-AE3B-1379-6196-5B9564A2154D}"/>
                </a:ext>
              </a:extLst>
            </p:cNvPr>
            <p:cNvSpPr txBox="1"/>
            <p:nvPr/>
          </p:nvSpPr>
          <p:spPr>
            <a:xfrm>
              <a:off x="7287197" y="2395715"/>
              <a:ext cx="47610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5400" dirty="0"/>
                <a:t>4</a:t>
              </a:r>
              <a:endParaRPr lang="fr-FR" sz="5400" dirty="0"/>
            </a:p>
          </p:txBody>
        </p:sp>
        <p:sp>
          <p:nvSpPr>
            <p:cNvPr id="9" name="ZoneTexte 8">
              <a:extLst>
                <a:ext uri="{FF2B5EF4-FFF2-40B4-BE49-F238E27FC236}">
                  <a16:creationId xmlns:a16="http://schemas.microsoft.com/office/drawing/2014/main" id="{FD85A2A7-EBF4-BD9D-4C7B-BE14442A47EB}"/>
                </a:ext>
              </a:extLst>
            </p:cNvPr>
            <p:cNvSpPr txBox="1"/>
            <p:nvPr/>
          </p:nvSpPr>
          <p:spPr>
            <a:xfrm>
              <a:off x="6711569" y="3607016"/>
              <a:ext cx="6545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4800" dirty="0">
                  <a:solidFill>
                    <a:srgbClr val="0070C0"/>
                  </a:solidFill>
                  <a:latin typeface="BelleAllureCE" panose="02000803000000000000" pitchFamily="50" charset="0"/>
                </a:rPr>
                <a:t>.</a:t>
              </a:r>
              <a:endParaRPr lang="fr-FR" sz="4800" dirty="0">
                <a:solidFill>
                  <a:srgbClr val="0070C0"/>
                </a:solidFill>
                <a:latin typeface="BelleAllureCE" panose="02000803000000000000" pitchFamily="50" charset="0"/>
              </a:endParaRPr>
            </a:p>
          </p:txBody>
        </p:sp>
        <p:sp>
          <p:nvSpPr>
            <p:cNvPr id="10" name="ZoneTexte 9">
              <a:extLst>
                <a:ext uri="{FF2B5EF4-FFF2-40B4-BE49-F238E27FC236}">
                  <a16:creationId xmlns:a16="http://schemas.microsoft.com/office/drawing/2014/main" id="{39D63821-A587-297C-F9C4-7B59A341B86D}"/>
                </a:ext>
              </a:extLst>
            </p:cNvPr>
            <p:cNvSpPr txBox="1"/>
            <p:nvPr/>
          </p:nvSpPr>
          <p:spPr>
            <a:xfrm>
              <a:off x="8091379" y="3607015"/>
              <a:ext cx="6545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4800" dirty="0">
                  <a:solidFill>
                    <a:srgbClr val="0070C0"/>
                  </a:solidFill>
                  <a:latin typeface="BelleAllureCE" panose="02000803000000000000" pitchFamily="50" charset="0"/>
                </a:rPr>
                <a:t>.</a:t>
              </a:r>
              <a:endParaRPr lang="fr-FR" sz="4800" dirty="0">
                <a:solidFill>
                  <a:srgbClr val="0070C0"/>
                </a:solidFill>
                <a:latin typeface="BelleAllureCE" panose="02000803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786795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5FE2031-1206-F977-0282-45F9BEBD0F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>
            <a:extLst>
              <a:ext uri="{FF2B5EF4-FFF2-40B4-BE49-F238E27FC236}">
                <a16:creationId xmlns:a16="http://schemas.microsoft.com/office/drawing/2014/main" id="{213E7D6A-4AE3-5550-EE4B-D756275E07FE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D8B9D85F-E511-C875-9CCE-ED2A65DEEE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8706" y="529064"/>
            <a:ext cx="1440305" cy="1234547"/>
          </a:xfrm>
          <a:prstGeom prst="rect">
            <a:avLst/>
          </a:prstGeom>
        </p:spPr>
      </p:pic>
      <p:sp>
        <p:nvSpPr>
          <p:cNvPr id="2" name="ZoneTexte 4">
            <a:extLst>
              <a:ext uri="{FF2B5EF4-FFF2-40B4-BE49-F238E27FC236}">
                <a16:creationId xmlns:a16="http://schemas.microsoft.com/office/drawing/2014/main" id="{FE667980-5852-A4E1-CFAD-C55C6FE630C6}"/>
              </a:ext>
            </a:extLst>
          </p:cNvPr>
          <p:cNvSpPr txBox="1"/>
          <p:nvPr/>
        </p:nvSpPr>
        <p:spPr>
          <a:xfrm>
            <a:off x="6156960" y="539387"/>
            <a:ext cx="224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نعم. العدد 4 هو 1 و3 ...</a:t>
            </a:r>
          </a:p>
        </p:txBody>
      </p: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5C87424D-92EB-3F9E-B560-DE6580446591}"/>
              </a:ext>
            </a:extLst>
          </p:cNvPr>
          <p:cNvGrpSpPr/>
          <p:nvPr/>
        </p:nvGrpSpPr>
        <p:grpSpPr>
          <a:xfrm>
            <a:off x="442456" y="2734797"/>
            <a:ext cx="2393281" cy="2114697"/>
            <a:chOff x="6352673" y="2371651"/>
            <a:chExt cx="2393281" cy="2114697"/>
          </a:xfrm>
        </p:grpSpPr>
        <p:pic>
          <p:nvPicPr>
            <p:cNvPr id="3" name="Image 2">
              <a:extLst>
                <a:ext uri="{FF2B5EF4-FFF2-40B4-BE49-F238E27FC236}">
                  <a16:creationId xmlns:a16="http://schemas.microsoft.com/office/drawing/2014/main" id="{00F5D831-289E-3DBC-9600-F1B649BB38B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352673" y="2371651"/>
              <a:ext cx="2393281" cy="2114697"/>
            </a:xfrm>
            <a:prstGeom prst="rect">
              <a:avLst/>
            </a:prstGeom>
          </p:spPr>
        </p:pic>
        <p:sp>
          <p:nvSpPr>
            <p:cNvPr id="9" name="ZoneTexte 8">
              <a:extLst>
                <a:ext uri="{FF2B5EF4-FFF2-40B4-BE49-F238E27FC236}">
                  <a16:creationId xmlns:a16="http://schemas.microsoft.com/office/drawing/2014/main" id="{D5DD6ECE-1370-6C96-BBF8-985335204212}"/>
                </a:ext>
              </a:extLst>
            </p:cNvPr>
            <p:cNvSpPr txBox="1"/>
            <p:nvPr/>
          </p:nvSpPr>
          <p:spPr>
            <a:xfrm>
              <a:off x="7287197" y="2395715"/>
              <a:ext cx="47610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5400" dirty="0"/>
                <a:t>4</a:t>
              </a:r>
              <a:endParaRPr lang="fr-FR" sz="5400" dirty="0"/>
            </a:p>
          </p:txBody>
        </p:sp>
        <p:sp>
          <p:nvSpPr>
            <p:cNvPr id="10" name="ZoneTexte 9">
              <a:extLst>
                <a:ext uri="{FF2B5EF4-FFF2-40B4-BE49-F238E27FC236}">
                  <a16:creationId xmlns:a16="http://schemas.microsoft.com/office/drawing/2014/main" id="{84C40276-B96F-9ED3-4A5F-D9DCAD6BE91B}"/>
                </a:ext>
              </a:extLst>
            </p:cNvPr>
            <p:cNvSpPr txBox="1"/>
            <p:nvPr/>
          </p:nvSpPr>
          <p:spPr>
            <a:xfrm>
              <a:off x="6554253" y="3566096"/>
              <a:ext cx="6545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48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1" name="ZoneTexte 10">
              <a:extLst>
                <a:ext uri="{FF2B5EF4-FFF2-40B4-BE49-F238E27FC236}">
                  <a16:creationId xmlns:a16="http://schemas.microsoft.com/office/drawing/2014/main" id="{9820214B-A158-5418-3DEB-6FDEFB5FE9B5}"/>
                </a:ext>
              </a:extLst>
            </p:cNvPr>
            <p:cNvSpPr txBox="1"/>
            <p:nvPr/>
          </p:nvSpPr>
          <p:spPr>
            <a:xfrm>
              <a:off x="7988637" y="3566096"/>
              <a:ext cx="6545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48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fr-FR" sz="4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83CFECED-5EF6-7821-EF8E-6AB5C448BF44}"/>
              </a:ext>
            </a:extLst>
          </p:cNvPr>
          <p:cNvCxnSpPr/>
          <p:nvPr/>
        </p:nvCxnSpPr>
        <p:spPr>
          <a:xfrm>
            <a:off x="3026691" y="3008663"/>
            <a:ext cx="0" cy="1840831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e 5">
            <a:extLst>
              <a:ext uri="{FF2B5EF4-FFF2-40B4-BE49-F238E27FC236}">
                <a16:creationId xmlns:a16="http://schemas.microsoft.com/office/drawing/2014/main" id="{F7F92C61-26AA-F201-42E8-125186A95239}"/>
              </a:ext>
            </a:extLst>
          </p:cNvPr>
          <p:cNvGrpSpPr/>
          <p:nvPr/>
        </p:nvGrpSpPr>
        <p:grpSpPr>
          <a:xfrm>
            <a:off x="3367553" y="2645542"/>
            <a:ext cx="2393281" cy="2114697"/>
            <a:chOff x="6352673" y="2371651"/>
            <a:chExt cx="2393281" cy="2114697"/>
          </a:xfrm>
        </p:grpSpPr>
        <p:pic>
          <p:nvPicPr>
            <p:cNvPr id="7" name="Image 6">
              <a:extLst>
                <a:ext uri="{FF2B5EF4-FFF2-40B4-BE49-F238E27FC236}">
                  <a16:creationId xmlns:a16="http://schemas.microsoft.com/office/drawing/2014/main" id="{8C335A49-1648-40DE-EB8D-F0EF22573C9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352673" y="2371651"/>
              <a:ext cx="2393281" cy="2114697"/>
            </a:xfrm>
            <a:prstGeom prst="rect">
              <a:avLst/>
            </a:prstGeom>
          </p:spPr>
        </p:pic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id="{22A22754-230B-B0B6-F8B4-303E7EB4AE9E}"/>
                </a:ext>
              </a:extLst>
            </p:cNvPr>
            <p:cNvSpPr txBox="1"/>
            <p:nvPr/>
          </p:nvSpPr>
          <p:spPr>
            <a:xfrm>
              <a:off x="7287197" y="2395715"/>
              <a:ext cx="47610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5400" dirty="0"/>
                <a:t>4</a:t>
              </a:r>
              <a:endParaRPr lang="fr-FR" sz="5400" dirty="0"/>
            </a:p>
          </p:txBody>
        </p:sp>
        <p:sp>
          <p:nvSpPr>
            <p:cNvPr id="13" name="ZoneTexte 12">
              <a:extLst>
                <a:ext uri="{FF2B5EF4-FFF2-40B4-BE49-F238E27FC236}">
                  <a16:creationId xmlns:a16="http://schemas.microsoft.com/office/drawing/2014/main" id="{083AFEBE-3A0E-8F50-945C-73D921C38F31}"/>
                </a:ext>
              </a:extLst>
            </p:cNvPr>
            <p:cNvSpPr txBox="1"/>
            <p:nvPr/>
          </p:nvSpPr>
          <p:spPr>
            <a:xfrm>
              <a:off x="6554253" y="3566096"/>
              <a:ext cx="6545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48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fr-FR" sz="4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ZoneTexte 14">
              <a:extLst>
                <a:ext uri="{FF2B5EF4-FFF2-40B4-BE49-F238E27FC236}">
                  <a16:creationId xmlns:a16="http://schemas.microsoft.com/office/drawing/2014/main" id="{F5B5CEE5-33CA-D570-4A62-8E18083D8A81}"/>
                </a:ext>
              </a:extLst>
            </p:cNvPr>
            <p:cNvSpPr txBox="1"/>
            <p:nvPr/>
          </p:nvSpPr>
          <p:spPr>
            <a:xfrm>
              <a:off x="7988637" y="3566096"/>
              <a:ext cx="6545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48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fr-FR" sz="4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3C9F232C-B1F4-05EE-0FF1-77523880A0D2}"/>
              </a:ext>
            </a:extLst>
          </p:cNvPr>
          <p:cNvCxnSpPr/>
          <p:nvPr/>
        </p:nvCxnSpPr>
        <p:spPr>
          <a:xfrm>
            <a:off x="6040277" y="2919408"/>
            <a:ext cx="0" cy="1840831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E61B7114-E73A-CA65-FD0B-6090012EFDBF}"/>
              </a:ext>
            </a:extLst>
          </p:cNvPr>
          <p:cNvGrpSpPr/>
          <p:nvPr/>
        </p:nvGrpSpPr>
        <p:grpSpPr>
          <a:xfrm>
            <a:off x="6292650" y="2734797"/>
            <a:ext cx="2393281" cy="2114697"/>
            <a:chOff x="6352673" y="2371651"/>
            <a:chExt cx="2393281" cy="2114697"/>
          </a:xfrm>
        </p:grpSpPr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5DEC13F7-3135-33FC-07C6-C7D03427BCD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352673" y="2371651"/>
              <a:ext cx="2393281" cy="2114697"/>
            </a:xfrm>
            <a:prstGeom prst="rect">
              <a:avLst/>
            </a:prstGeom>
          </p:spPr>
        </p:pic>
        <p:sp>
          <p:nvSpPr>
            <p:cNvPr id="19" name="ZoneTexte 18">
              <a:extLst>
                <a:ext uri="{FF2B5EF4-FFF2-40B4-BE49-F238E27FC236}">
                  <a16:creationId xmlns:a16="http://schemas.microsoft.com/office/drawing/2014/main" id="{9C150452-5C6E-BA90-2E30-5E61CE60F0EF}"/>
                </a:ext>
              </a:extLst>
            </p:cNvPr>
            <p:cNvSpPr txBox="1"/>
            <p:nvPr/>
          </p:nvSpPr>
          <p:spPr>
            <a:xfrm>
              <a:off x="7287197" y="2395715"/>
              <a:ext cx="47610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5400" dirty="0"/>
                <a:t>4</a:t>
              </a:r>
              <a:endParaRPr lang="fr-FR" sz="5400" dirty="0"/>
            </a:p>
          </p:txBody>
        </p:sp>
        <p:sp>
          <p:nvSpPr>
            <p:cNvPr id="20" name="ZoneTexte 19">
              <a:extLst>
                <a:ext uri="{FF2B5EF4-FFF2-40B4-BE49-F238E27FC236}">
                  <a16:creationId xmlns:a16="http://schemas.microsoft.com/office/drawing/2014/main" id="{B9D32DBF-272E-39EE-3B6E-CFE471E8C07A}"/>
                </a:ext>
              </a:extLst>
            </p:cNvPr>
            <p:cNvSpPr txBox="1"/>
            <p:nvPr/>
          </p:nvSpPr>
          <p:spPr>
            <a:xfrm>
              <a:off x="6554253" y="3566096"/>
              <a:ext cx="6545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48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fr-FR" sz="4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ZoneTexte 20">
              <a:extLst>
                <a:ext uri="{FF2B5EF4-FFF2-40B4-BE49-F238E27FC236}">
                  <a16:creationId xmlns:a16="http://schemas.microsoft.com/office/drawing/2014/main" id="{74FE0A84-85FB-0E9E-E67E-7FCC9909593A}"/>
                </a:ext>
              </a:extLst>
            </p:cNvPr>
            <p:cNvSpPr txBox="1"/>
            <p:nvPr/>
          </p:nvSpPr>
          <p:spPr>
            <a:xfrm>
              <a:off x="7988637" y="3566096"/>
              <a:ext cx="6545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48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  <p:sp>
        <p:nvSpPr>
          <p:cNvPr id="4" name="ZoneTexte 4">
            <a:extLst>
              <a:ext uri="{FF2B5EF4-FFF2-40B4-BE49-F238E27FC236}">
                <a16:creationId xmlns:a16="http://schemas.microsoft.com/office/drawing/2014/main" id="{FB4B80CE-A79A-82C2-5DC4-403AE82E7C01}"/>
              </a:ext>
            </a:extLst>
          </p:cNvPr>
          <p:cNvSpPr txBox="1"/>
          <p:nvPr/>
        </p:nvSpPr>
        <p:spPr>
          <a:xfrm>
            <a:off x="4115339" y="571823"/>
            <a:ext cx="22420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عدد 4 هو أيضا 2 و2 ... </a:t>
            </a:r>
          </a:p>
        </p:txBody>
      </p:sp>
      <p:sp>
        <p:nvSpPr>
          <p:cNvPr id="23" name="ZoneTexte 4">
            <a:extLst>
              <a:ext uri="{FF2B5EF4-FFF2-40B4-BE49-F238E27FC236}">
                <a16:creationId xmlns:a16="http://schemas.microsoft.com/office/drawing/2014/main" id="{12FE3967-74C6-086C-D7F2-D2C0DE3089F6}"/>
              </a:ext>
            </a:extLst>
          </p:cNvPr>
          <p:cNvSpPr txBox="1"/>
          <p:nvPr/>
        </p:nvSpPr>
        <p:spPr>
          <a:xfrm>
            <a:off x="2159265" y="616451"/>
            <a:ext cx="2178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عدد 4 هو كذلك 3 و1.</a:t>
            </a:r>
          </a:p>
        </p:txBody>
      </p:sp>
    </p:spTree>
    <p:extLst>
      <p:ext uri="{BB962C8B-B14F-4D97-AF65-F5344CB8AC3E}">
        <p14:creationId xmlns:p14="http://schemas.microsoft.com/office/powerpoint/2010/main" val="12317040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23" grpId="0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028A5E3-58B7-FB37-F072-B59E84A595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26E466F5-7E3F-D34D-F0BE-6CFD6E92AC41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EE9FEE25-8CFA-0EDC-8976-268E8054EACB}"/>
              </a:ext>
            </a:extLst>
          </p:cNvPr>
          <p:cNvSpPr txBox="1"/>
          <p:nvPr/>
        </p:nvSpPr>
        <p:spPr>
          <a:xfrm>
            <a:off x="368249" y="567451"/>
            <a:ext cx="8092279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r" rtl="1"/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الآن سنشتغل على الكراسات. خذوا الصفحة </a:t>
            </a: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5</a:t>
            </a: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النشاط 4.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algn="r" rtl="1"/>
            <a:r>
              <a:rPr lang="ar-MA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عدد 4 هو أيضا 2 وماذا؟</a:t>
            </a: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</a:t>
            </a:r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سأمر بين الصفوف لمساعدتكم.</a:t>
            </a:r>
            <a:endParaRPr kumimoji="0" lang="ar-MA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6680ECDE-F291-E6C9-336B-587C6CC40AB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8249" y="567451"/>
            <a:ext cx="1224136" cy="1124108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130DB180-D617-4CE3-9AB5-12DA33B4FE1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4968" y="2555378"/>
            <a:ext cx="8504904" cy="2253951"/>
          </a:xfrm>
          <a:prstGeom prst="rect">
            <a:avLst/>
          </a:prstGeom>
        </p:spPr>
      </p:pic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00BE5224-1B44-F4EE-427E-F1F7E8F402CE}"/>
              </a:ext>
            </a:extLst>
          </p:cNvPr>
          <p:cNvSpPr/>
          <p:nvPr/>
        </p:nvSpPr>
        <p:spPr>
          <a:xfrm>
            <a:off x="3815915" y="2893988"/>
            <a:ext cx="1512168" cy="1889148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7C3E53C2-A6CC-9964-14A3-50C99E3B42C7}"/>
              </a:ext>
            </a:extLst>
          </p:cNvPr>
          <p:cNvSpPr txBox="1"/>
          <p:nvPr/>
        </p:nvSpPr>
        <p:spPr>
          <a:xfrm>
            <a:off x="1257275" y="3848394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1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44C3E3C0-690A-B51E-62E2-81CBA24FB9E6}"/>
              </a:ext>
            </a:extLst>
          </p:cNvPr>
          <p:cNvSpPr txBox="1"/>
          <p:nvPr/>
        </p:nvSpPr>
        <p:spPr>
          <a:xfrm>
            <a:off x="2004268" y="3838562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3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32FE842C-82B6-88AA-BB47-05CC5603EFA5}"/>
              </a:ext>
            </a:extLst>
          </p:cNvPr>
          <p:cNvSpPr txBox="1"/>
          <p:nvPr/>
        </p:nvSpPr>
        <p:spPr>
          <a:xfrm>
            <a:off x="4018119" y="3858226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4" name="Flèche : bas 13">
            <a:extLst>
              <a:ext uri="{FF2B5EF4-FFF2-40B4-BE49-F238E27FC236}">
                <a16:creationId xmlns:a16="http://schemas.microsoft.com/office/drawing/2014/main" id="{F598E151-FD1A-0E25-7B20-B3D32C3F5F72}"/>
              </a:ext>
            </a:extLst>
          </p:cNvPr>
          <p:cNvSpPr/>
          <p:nvPr/>
        </p:nvSpPr>
        <p:spPr>
          <a:xfrm>
            <a:off x="4319971" y="2178020"/>
            <a:ext cx="504056" cy="649074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761399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AE52FAF-35C6-0471-E954-AB731CC3FE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0E799AE3-ACC1-95F4-7527-2C7CA1F1E834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84EDF8CD-2E3C-F1CD-BE1F-749092DC00EA}"/>
              </a:ext>
            </a:extLst>
          </p:cNvPr>
          <p:cNvSpPr txBox="1"/>
          <p:nvPr/>
        </p:nvSpPr>
        <p:spPr>
          <a:xfrm>
            <a:off x="878551" y="563454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تهى الوقت. يقدم كل واحد نتيجته لزميله مع الشرح. </a:t>
            </a:r>
            <a:endParaRPr lang="fr-FR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2E3AFD89-73BC-C301-8E9C-6C076C9A89E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0366" y="1916832"/>
            <a:ext cx="4843267" cy="3672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06160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9CC4BF2-4A9E-C99B-A909-034B93B150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80756BD0-A346-9643-E779-40589966DC09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23130B8F-071C-FDFC-BEB9-6EC28416919D}"/>
              </a:ext>
            </a:extLst>
          </p:cNvPr>
          <p:cNvSpPr txBox="1"/>
          <p:nvPr/>
        </p:nvSpPr>
        <p:spPr>
          <a:xfrm>
            <a:off x="2386049" y="539388"/>
            <a:ext cx="6026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قلوا النتيجة على الألواح.</a:t>
            </a:r>
            <a:endParaRPr lang="fr-FR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5D50C796-EB9C-C232-2EEF-1B2D614D03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09911" y="2169000"/>
            <a:ext cx="3924179" cy="2520000"/>
          </a:xfrm>
          <a:prstGeom prst="rect">
            <a:avLst/>
          </a:prstGeom>
        </p:spPr>
      </p:pic>
      <p:pic>
        <p:nvPicPr>
          <p:cNvPr id="6" name="Picture 9">
            <a:extLst>
              <a:ext uri="{FF2B5EF4-FFF2-40B4-BE49-F238E27FC236}">
                <a16:creationId xmlns:a16="http://schemas.microsoft.com/office/drawing/2014/main" id="{D06363A6-A125-2C04-1490-B3021B48C7D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1025" t="14561" r="11389" b="14089"/>
          <a:stretch/>
        </p:blipFill>
        <p:spPr>
          <a:xfrm>
            <a:off x="395536" y="540000"/>
            <a:ext cx="908902" cy="646331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333497678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AACC4A1-3C3A-AB7C-0C1D-ECA14E3DA6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E99BC8D8-5C9D-1B83-7A98-7035537576CF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BADA3516-4571-6B7C-EFD1-F32DD6E226EF}"/>
              </a:ext>
            </a:extLst>
          </p:cNvPr>
          <p:cNvSpPr txBox="1"/>
          <p:nvPr/>
        </p:nvSpPr>
        <p:spPr>
          <a:xfrm>
            <a:off x="2386049" y="539388"/>
            <a:ext cx="6026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رفعوا الألواح.</a:t>
            </a:r>
            <a:endParaRPr lang="fr-FR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C32B7020-32EB-F376-D2EE-2939CE7B46C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025" t="14561" r="11389" b="14089"/>
          <a:stretch/>
        </p:blipFill>
        <p:spPr>
          <a:xfrm>
            <a:off x="395536" y="540000"/>
            <a:ext cx="908902" cy="646331"/>
          </a:xfrm>
          <a:prstGeom prst="round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DD771D25-6836-D30C-35F9-E72D55D513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13696" y="2169000"/>
            <a:ext cx="3768019" cy="2700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1790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8F3802C-20EC-8DC8-DEC8-3B390B0B74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65239F96-D263-946A-9286-8BA119B84398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17D6F43D-C88E-B9DC-BB74-88601C8B0441}"/>
              </a:ext>
            </a:extLst>
          </p:cNvPr>
          <p:cNvSpPr txBox="1"/>
          <p:nvPr/>
        </p:nvSpPr>
        <p:spPr>
          <a:xfrm>
            <a:off x="2386049" y="519724"/>
            <a:ext cx="60261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سأختار أحد  التلاميذ ليقوم إلى السبورة ويشرح لنا كيف قام بذلك.</a:t>
            </a:r>
          </a:p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نصحح. العدد 4 هو 2 و2.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15E331E3-E372-8015-3D6B-12FB85ABEC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140" y="361770"/>
            <a:ext cx="1569466" cy="1119692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B41E0ECF-7C9D-CA8A-35E6-92C47E238FE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9140" y="2555378"/>
            <a:ext cx="8460564" cy="2253951"/>
          </a:xfrm>
          <a:prstGeom prst="rect">
            <a:avLst/>
          </a:prstGeom>
        </p:spPr>
      </p:pic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7E78653F-4032-9BF5-0465-33632D2C7D36}"/>
              </a:ext>
            </a:extLst>
          </p:cNvPr>
          <p:cNvSpPr/>
          <p:nvPr/>
        </p:nvSpPr>
        <p:spPr>
          <a:xfrm>
            <a:off x="3815915" y="2893988"/>
            <a:ext cx="1512168" cy="1889148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EBEC7943-767A-BBCB-CC16-71252DFA88EA}"/>
              </a:ext>
            </a:extLst>
          </p:cNvPr>
          <p:cNvSpPr txBox="1"/>
          <p:nvPr/>
        </p:nvSpPr>
        <p:spPr>
          <a:xfrm>
            <a:off x="1257275" y="3848394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1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E3CFDD87-D01B-20F0-E42F-E8F744073501}"/>
              </a:ext>
            </a:extLst>
          </p:cNvPr>
          <p:cNvSpPr txBox="1"/>
          <p:nvPr/>
        </p:nvSpPr>
        <p:spPr>
          <a:xfrm>
            <a:off x="2004268" y="3838562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3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F37EAEAD-F077-F41A-7572-1F69B9678B96}"/>
              </a:ext>
            </a:extLst>
          </p:cNvPr>
          <p:cNvSpPr txBox="1"/>
          <p:nvPr/>
        </p:nvSpPr>
        <p:spPr>
          <a:xfrm>
            <a:off x="4018119" y="3858226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49232292-09B0-DA4E-D2C2-3CA678137570}"/>
              </a:ext>
            </a:extLst>
          </p:cNvPr>
          <p:cNvSpPr txBox="1"/>
          <p:nvPr/>
        </p:nvSpPr>
        <p:spPr>
          <a:xfrm>
            <a:off x="4740841" y="3858226"/>
            <a:ext cx="385042" cy="523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6293603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56F5F2F-EB15-5DA1-DB2F-3A1DA8D907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A7DA3C8A-9367-93AF-16B1-3DAF8AF94964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8FDA055C-3533-0D3B-FFDA-864B9D86A846}"/>
              </a:ext>
            </a:extLst>
          </p:cNvPr>
          <p:cNvSpPr txBox="1"/>
          <p:nvPr/>
        </p:nvSpPr>
        <p:spPr>
          <a:xfrm>
            <a:off x="2386049" y="539388"/>
            <a:ext cx="6026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عدد 4 هو كذلك 3 وماذا؟ سأمر بين الصفوف لمساعدتكم.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87C28F21-A088-B868-3F48-982C57AC866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8249" y="567451"/>
            <a:ext cx="1224136" cy="1124108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9B00143F-CF4B-017A-6864-41A1AF11C19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8248" y="2555378"/>
            <a:ext cx="8441455" cy="2253951"/>
          </a:xfrm>
          <a:prstGeom prst="rect">
            <a:avLst/>
          </a:prstGeom>
        </p:spPr>
      </p:pic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442C17A4-661A-8804-7466-4DA042F26041}"/>
              </a:ext>
            </a:extLst>
          </p:cNvPr>
          <p:cNvSpPr/>
          <p:nvPr/>
        </p:nvSpPr>
        <p:spPr>
          <a:xfrm>
            <a:off x="6383648" y="2893988"/>
            <a:ext cx="1512168" cy="1889148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292E33D2-3173-B6DA-48FE-EB51DD11199B}"/>
              </a:ext>
            </a:extLst>
          </p:cNvPr>
          <p:cNvSpPr txBox="1"/>
          <p:nvPr/>
        </p:nvSpPr>
        <p:spPr>
          <a:xfrm>
            <a:off x="1257275" y="3848394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1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4377C78A-7AB0-4E7F-C980-EA04245D1B27}"/>
              </a:ext>
            </a:extLst>
          </p:cNvPr>
          <p:cNvSpPr txBox="1"/>
          <p:nvPr/>
        </p:nvSpPr>
        <p:spPr>
          <a:xfrm>
            <a:off x="2004268" y="3838562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3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AB88A6C6-DD7F-7313-7FE8-2C38DE0B1865}"/>
              </a:ext>
            </a:extLst>
          </p:cNvPr>
          <p:cNvSpPr txBox="1"/>
          <p:nvPr/>
        </p:nvSpPr>
        <p:spPr>
          <a:xfrm>
            <a:off x="4018119" y="3858226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25AD294E-C6CF-6E1D-2A30-7BE1E0B50BAB}"/>
              </a:ext>
            </a:extLst>
          </p:cNvPr>
          <p:cNvSpPr txBox="1"/>
          <p:nvPr/>
        </p:nvSpPr>
        <p:spPr>
          <a:xfrm>
            <a:off x="4740841" y="3858226"/>
            <a:ext cx="385042" cy="523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344E6CEE-5414-A7C4-8F6C-2F330EB79551}"/>
              </a:ext>
            </a:extLst>
          </p:cNvPr>
          <p:cNvSpPr txBox="1"/>
          <p:nvPr/>
        </p:nvSpPr>
        <p:spPr>
          <a:xfrm>
            <a:off x="6646391" y="3858226"/>
            <a:ext cx="385042" cy="523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fr-FR" sz="28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Flèche : bas 14">
            <a:extLst>
              <a:ext uri="{FF2B5EF4-FFF2-40B4-BE49-F238E27FC236}">
                <a16:creationId xmlns:a16="http://schemas.microsoft.com/office/drawing/2014/main" id="{40AB8F2E-8D53-A0A7-1BEC-804D2F4A1D33}"/>
              </a:ext>
            </a:extLst>
          </p:cNvPr>
          <p:cNvSpPr/>
          <p:nvPr/>
        </p:nvSpPr>
        <p:spPr>
          <a:xfrm>
            <a:off x="6887704" y="2145316"/>
            <a:ext cx="504056" cy="649074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4208995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41709B1-3170-8438-89C3-7741A7CDB8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95705CEC-B910-5EE1-076A-098F183AE2FC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473677D2-6672-E938-1910-EF8C794A55EE}"/>
              </a:ext>
            </a:extLst>
          </p:cNvPr>
          <p:cNvSpPr txBox="1"/>
          <p:nvPr/>
        </p:nvSpPr>
        <p:spPr>
          <a:xfrm>
            <a:off x="878551" y="563454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تهى الوقت. يقدم كل واحد نتيجته لزميله مع الشرح. </a:t>
            </a:r>
            <a:endParaRPr lang="fr-FR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4150BB94-1FAD-D821-B3E8-B080FD6501C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0366" y="1916832"/>
            <a:ext cx="4843267" cy="3672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0358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think-cell data - do not delete" hidden="1">
            <a:extLst>
              <a:ext uri="{FF2B5EF4-FFF2-40B4-BE49-F238E27FC236}">
                <a16:creationId xmlns:a16="http://schemas.microsoft.com/office/drawing/2014/main" id="{A5913DB5-F681-AADA-AA9B-503BB3C38E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913DB5-F681-AADA-AA9B-503BB3C38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2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 t="-5555" b="-5555"/>
            </a:stretch>
          </a:blipFill>
        </p:spPr>
        <p:txBody>
          <a:bodyPr/>
          <a:lstStyle/>
          <a:p>
            <a:pPr algn="just" defTabSz="457223"/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/>
          <p:cNvGrpSpPr/>
          <p:nvPr/>
        </p:nvGrpSpPr>
        <p:grpSpPr>
          <a:xfrm>
            <a:off x="394223" y="767701"/>
            <a:ext cx="8636000" cy="5596244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457223"/>
              <a:endParaRPr lang="fr-MA" sz="90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25400" tIns="25400" rIns="25400" bIns="25400" rtlCol="0" anchor="ctr"/>
            <a:lstStyle/>
            <a:p>
              <a:pPr algn="just" defTabSz="457223">
                <a:lnSpc>
                  <a:spcPts val="1605"/>
                </a:lnSpc>
              </a:pPr>
              <a:endParaRPr sz="90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7" name="Freeform 7"/>
          <p:cNvSpPr/>
          <p:nvPr/>
        </p:nvSpPr>
        <p:spPr>
          <a:xfrm>
            <a:off x="8077201" y="294200"/>
            <a:ext cx="619583" cy="5948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457223"/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45" name="ZoneTexte 5">
            <a:extLst>
              <a:ext uri="{FF2B5EF4-FFF2-40B4-BE49-F238E27FC236}">
                <a16:creationId xmlns:a16="http://schemas.microsoft.com/office/drawing/2014/main" id="{ABA2A6A3-1EDB-77CA-044F-205840F96C09}"/>
              </a:ext>
            </a:extLst>
          </p:cNvPr>
          <p:cNvSpPr txBox="1"/>
          <p:nvPr/>
        </p:nvSpPr>
        <p:spPr>
          <a:xfrm>
            <a:off x="-76199" y="365553"/>
            <a:ext cx="17525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MA" sz="1600" i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خاص بالأستاذ</a:t>
            </a:r>
            <a:endParaRPr lang="fr-MA" sz="1600" i="1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6F83E8F-A2D4-86F5-970B-0187137D8890}"/>
              </a:ext>
            </a:extLst>
          </p:cNvPr>
          <p:cNvSpPr txBox="1"/>
          <p:nvPr/>
        </p:nvSpPr>
        <p:spPr>
          <a:xfrm>
            <a:off x="1489665" y="1365589"/>
            <a:ext cx="6164669" cy="4072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2075"/>
              </a:lnSpc>
            </a:pPr>
            <a:r>
              <a:rPr lang="ar-MA" sz="3334" b="1" kern="0" dirty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راحل الحصة</a:t>
            </a:r>
          </a:p>
        </p:txBody>
      </p:sp>
      <p:sp>
        <p:nvSpPr>
          <p:cNvPr id="55" name="Flowchart: Alternate Process 54">
            <a:extLst>
              <a:ext uri="{FF2B5EF4-FFF2-40B4-BE49-F238E27FC236}">
                <a16:creationId xmlns:a16="http://schemas.microsoft.com/office/drawing/2014/main" id="{794675B7-0983-E62A-CE83-0D53902CBAF5}"/>
              </a:ext>
            </a:extLst>
          </p:cNvPr>
          <p:cNvSpPr/>
          <p:nvPr/>
        </p:nvSpPr>
        <p:spPr>
          <a:xfrm>
            <a:off x="942774" y="2044679"/>
            <a:ext cx="6624649" cy="676858"/>
          </a:xfrm>
          <a:prstGeom prst="flowChartAlternateProcess">
            <a:avLst/>
          </a:prstGeom>
          <a:solidFill>
            <a:srgbClr val="F2F2F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685834" rtl="1">
              <a:defRPr/>
            </a:pPr>
            <a:r>
              <a:rPr lang="ar-MA" sz="2400" b="1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فتتاح </a:t>
            </a:r>
            <a:r>
              <a:rPr lang="en-GB" sz="2400" b="1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ar-MA" sz="2400" b="1" kern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حصة</a:t>
            </a:r>
            <a:endParaRPr lang="en-US" sz="2000" b="1">
              <a:solidFill>
                <a:srgbClr val="01070A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2FBB3B0C-23A8-D891-890D-6C357D009A48}"/>
              </a:ext>
            </a:extLst>
          </p:cNvPr>
          <p:cNvSpPr>
            <a:spLocks noChangeAspect="1"/>
          </p:cNvSpPr>
          <p:nvPr/>
        </p:nvSpPr>
        <p:spPr>
          <a:xfrm>
            <a:off x="7822339" y="2185454"/>
            <a:ext cx="395307" cy="395307"/>
          </a:xfrm>
          <a:prstGeom prst="ellipse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MA" sz="2133" b="1"/>
              <a:t>1</a:t>
            </a: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496B13D3-E5C7-F1F4-06A9-715BD43ACA53}"/>
              </a:ext>
            </a:extLst>
          </p:cNvPr>
          <p:cNvSpPr>
            <a:spLocks noChangeAspect="1"/>
          </p:cNvSpPr>
          <p:nvPr/>
        </p:nvSpPr>
        <p:spPr>
          <a:xfrm>
            <a:off x="7822339" y="2980002"/>
            <a:ext cx="395307" cy="395307"/>
          </a:xfrm>
          <a:prstGeom prst="ellipse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MA" sz="2133" b="1"/>
              <a:t>2</a:t>
            </a: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CB1128EE-BBC6-B3AE-BD21-A80CB5767686}"/>
              </a:ext>
            </a:extLst>
          </p:cNvPr>
          <p:cNvSpPr>
            <a:spLocks noChangeAspect="1"/>
          </p:cNvSpPr>
          <p:nvPr/>
        </p:nvSpPr>
        <p:spPr>
          <a:xfrm>
            <a:off x="7822339" y="3774550"/>
            <a:ext cx="395307" cy="395307"/>
          </a:xfrm>
          <a:prstGeom prst="ellipse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MA" sz="2133" b="1"/>
              <a:t>3</a:t>
            </a: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88401652-24E5-3103-FE29-B939B4B963C3}"/>
              </a:ext>
            </a:extLst>
          </p:cNvPr>
          <p:cNvSpPr>
            <a:spLocks noChangeAspect="1"/>
          </p:cNvSpPr>
          <p:nvPr/>
        </p:nvSpPr>
        <p:spPr>
          <a:xfrm>
            <a:off x="7822339" y="4569098"/>
            <a:ext cx="395307" cy="395307"/>
          </a:xfrm>
          <a:prstGeom prst="ellipse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MA" sz="2133" b="1"/>
              <a:t>4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69F7B7C7-4B93-4E6D-E1B4-4CE13AC7905C}"/>
              </a:ext>
            </a:extLst>
          </p:cNvPr>
          <p:cNvSpPr/>
          <p:nvPr/>
        </p:nvSpPr>
        <p:spPr>
          <a:xfrm>
            <a:off x="942774" y="2968076"/>
            <a:ext cx="6624649" cy="538808"/>
          </a:xfrm>
          <a:prstGeom prst="roundRect">
            <a:avLst/>
          </a:prstGeom>
          <a:solidFill>
            <a:srgbClr val="F2F2F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457223" rtl="1"/>
            <a:r>
              <a:rPr lang="ar-MA" sz="2400" b="1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أنشطة تمهيدية </a:t>
            </a:r>
            <a:endParaRPr lang="en-GB" sz="16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4942DF5-7E1C-77B7-B92E-FF94A01BA5F8}"/>
              </a:ext>
            </a:extLst>
          </p:cNvPr>
          <p:cNvSpPr/>
          <p:nvPr/>
        </p:nvSpPr>
        <p:spPr>
          <a:xfrm>
            <a:off x="942774" y="3753423"/>
            <a:ext cx="6624649" cy="538808"/>
          </a:xfrm>
          <a:prstGeom prst="roundRect">
            <a:avLst/>
          </a:prstGeom>
          <a:solidFill>
            <a:srgbClr val="F2F2F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457223" rtl="1"/>
            <a:r>
              <a:rPr lang="ar-MA" sz="2400" b="1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نشاط الرئيسي</a:t>
            </a:r>
            <a:endParaRPr lang="en-GB" sz="1600" b="1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9F3A5224-A56C-ACDB-21B0-E21C05BDBA2A}"/>
              </a:ext>
            </a:extLst>
          </p:cNvPr>
          <p:cNvSpPr/>
          <p:nvPr/>
        </p:nvSpPr>
        <p:spPr>
          <a:xfrm>
            <a:off x="942774" y="4481108"/>
            <a:ext cx="6624649" cy="538808"/>
          </a:xfrm>
          <a:prstGeom prst="roundRect">
            <a:avLst/>
          </a:prstGeom>
          <a:solidFill>
            <a:srgbClr val="F2F2F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457223" rtl="1"/>
            <a:r>
              <a:rPr lang="ar-MA" sz="2400" b="1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أنشطة التدرب والتعمق : ممارسة مستقلة</a:t>
            </a:r>
            <a:endParaRPr lang="en-GB" sz="16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79275E6-91BD-A54F-27CE-284F2B58AB0A}"/>
              </a:ext>
            </a:extLst>
          </p:cNvPr>
          <p:cNvSpPr/>
          <p:nvPr/>
        </p:nvSpPr>
        <p:spPr>
          <a:xfrm>
            <a:off x="942774" y="5266456"/>
            <a:ext cx="6624649" cy="538808"/>
          </a:xfrm>
          <a:prstGeom prst="roundRect">
            <a:avLst/>
          </a:prstGeom>
          <a:solidFill>
            <a:srgbClr val="F2F2F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457223" rtl="1"/>
            <a:r>
              <a:rPr lang="ar-MA" sz="2400" b="1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ختتام الحصة</a:t>
            </a:r>
            <a:endParaRPr lang="en-GB" sz="16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4580D002-A49D-75B9-6715-FA7D5D442058}"/>
              </a:ext>
            </a:extLst>
          </p:cNvPr>
          <p:cNvSpPr>
            <a:spLocks noChangeAspect="1"/>
          </p:cNvSpPr>
          <p:nvPr/>
        </p:nvSpPr>
        <p:spPr>
          <a:xfrm>
            <a:off x="7822339" y="5363646"/>
            <a:ext cx="395307" cy="395307"/>
          </a:xfrm>
          <a:prstGeom prst="ellipse">
            <a:avLst/>
          </a:prstGeom>
          <a:solidFill>
            <a:srgbClr val="1065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ar-MA" sz="2133" b="1"/>
              <a:t>5</a:t>
            </a:r>
            <a:endParaRPr lang="fr-MA" sz="2133" b="1"/>
          </a:p>
        </p:txBody>
      </p:sp>
      <p:pic>
        <p:nvPicPr>
          <p:cNvPr id="16" name="Picture 65" descr="A blue stopwatch on a black background&#10;&#10;Description automatically generated">
            <a:extLst>
              <a:ext uri="{FF2B5EF4-FFF2-40B4-BE49-F238E27FC236}">
                <a16:creationId xmlns:a16="http://schemas.microsoft.com/office/drawing/2014/main" id="{7A853738-C672-50F8-5AD8-5EB08FA262B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99" y="3329716"/>
            <a:ext cx="1260978" cy="1248796"/>
          </a:xfrm>
          <a:prstGeom prst="rect">
            <a:avLst/>
          </a:prstGeom>
        </p:spPr>
      </p:pic>
      <p:graphicFrame>
        <p:nvGraphicFramePr>
          <p:cNvPr id="6" name="think-cell data - do not delete">
            <a:extLst>
              <a:ext uri="{FF2B5EF4-FFF2-40B4-BE49-F238E27FC236}">
                <a16:creationId xmlns:a16="http://schemas.microsoft.com/office/drawing/2014/main" id="{09EE0638-98C0-62FD-E164-56A146DDC7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607661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6" name="think-cell data - do not delete">
                        <a:extLst>
                          <a:ext uri="{FF2B5EF4-FFF2-40B4-BE49-F238E27FC236}">
                            <a16:creationId xmlns:a16="http://schemas.microsoft.com/office/drawing/2014/main" id="{09EE0638-98C0-62FD-E164-56A146DDC7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65" descr="A blue stopwatch on a black background&#10;&#10;Description automatically generated">
            <a:extLst>
              <a:ext uri="{FF2B5EF4-FFF2-40B4-BE49-F238E27FC236}">
                <a16:creationId xmlns:a16="http://schemas.microsoft.com/office/drawing/2014/main" id="{8B756E45-CD39-3D74-08FC-4FE5B27CB00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99" y="1596010"/>
            <a:ext cx="1260978" cy="1248796"/>
          </a:xfrm>
          <a:prstGeom prst="rect">
            <a:avLst/>
          </a:prstGeom>
        </p:spPr>
      </p:pic>
      <p:pic>
        <p:nvPicPr>
          <p:cNvPr id="22" name="Picture 65" descr="A blue stopwatch on a black background&#10;&#10;Description automatically generated">
            <a:extLst>
              <a:ext uri="{FF2B5EF4-FFF2-40B4-BE49-F238E27FC236}">
                <a16:creationId xmlns:a16="http://schemas.microsoft.com/office/drawing/2014/main" id="{39A0D91B-49AA-FE38-8017-6AFDD4FF8DE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69" y="4891800"/>
            <a:ext cx="1260978" cy="1248796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9FE47017-CF62-AAAB-DF46-0BC241C45D79}"/>
              </a:ext>
            </a:extLst>
          </p:cNvPr>
          <p:cNvSpPr/>
          <p:nvPr/>
        </p:nvSpPr>
        <p:spPr>
          <a:xfrm>
            <a:off x="148418" y="5761882"/>
            <a:ext cx="1130904" cy="259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MA"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 دقائق</a:t>
            </a:r>
            <a:endParaRPr lang="en-US" sz="14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1" name="Picture 65" descr="A blue stopwatch on a black background&#10;&#10;Description automatically generated">
            <a:extLst>
              <a:ext uri="{FF2B5EF4-FFF2-40B4-BE49-F238E27FC236}">
                <a16:creationId xmlns:a16="http://schemas.microsoft.com/office/drawing/2014/main" id="{1757506C-50D7-A64A-6E9F-85C129F32AC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44" y="4069818"/>
            <a:ext cx="1260978" cy="1248796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4AF662B8-77F3-6D4F-B3AB-8BDC7477F64A}"/>
              </a:ext>
            </a:extLst>
          </p:cNvPr>
          <p:cNvSpPr/>
          <p:nvPr/>
        </p:nvSpPr>
        <p:spPr>
          <a:xfrm>
            <a:off x="137648" y="4199798"/>
            <a:ext cx="1130904" cy="259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MA"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5 دقائق</a:t>
            </a:r>
            <a:endParaRPr lang="en-US" sz="14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34FE242-C8D3-94E9-8D6F-95198A53CE5C}"/>
              </a:ext>
            </a:extLst>
          </p:cNvPr>
          <p:cNvSpPr/>
          <p:nvPr/>
        </p:nvSpPr>
        <p:spPr>
          <a:xfrm>
            <a:off x="109393" y="4939900"/>
            <a:ext cx="1130904" cy="259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MA"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 دقيقة</a:t>
            </a:r>
            <a:endParaRPr lang="en-US" sz="14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4" name="Picture 65" descr="A blue stopwatch on a black background&#10;&#10;Description automatically generated">
            <a:extLst>
              <a:ext uri="{FF2B5EF4-FFF2-40B4-BE49-F238E27FC236}">
                <a16:creationId xmlns:a16="http://schemas.microsoft.com/office/drawing/2014/main" id="{7A579DC5-FA5C-DEBA-8367-C2D2DA35744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10" y="2466947"/>
            <a:ext cx="1260978" cy="1248796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AE20C5C7-AA8C-7A53-6522-12C00311AAE8}"/>
              </a:ext>
            </a:extLst>
          </p:cNvPr>
          <p:cNvSpPr/>
          <p:nvPr/>
        </p:nvSpPr>
        <p:spPr>
          <a:xfrm>
            <a:off x="129059" y="3337029"/>
            <a:ext cx="1130904" cy="259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MA"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5 دقيقة</a:t>
            </a:r>
            <a:endParaRPr lang="en-US" sz="14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5512E85-08B4-5DDF-9966-C4BF3F3A17DA}"/>
              </a:ext>
            </a:extLst>
          </p:cNvPr>
          <p:cNvSpPr/>
          <p:nvPr/>
        </p:nvSpPr>
        <p:spPr>
          <a:xfrm>
            <a:off x="137648" y="2466092"/>
            <a:ext cx="1130904" cy="259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MA"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 دقائق</a:t>
            </a:r>
            <a:endParaRPr lang="en-US" sz="14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165C5DEB-E17C-B359-73D9-474BBF23237D}"/>
              </a:ext>
            </a:extLst>
          </p:cNvPr>
          <p:cNvGrpSpPr/>
          <p:nvPr/>
        </p:nvGrpSpPr>
        <p:grpSpPr>
          <a:xfrm>
            <a:off x="1383775" y="807471"/>
            <a:ext cx="1260977" cy="1173794"/>
            <a:chOff x="1383775" y="807471"/>
            <a:chExt cx="1260977" cy="1173794"/>
          </a:xfrm>
        </p:grpSpPr>
        <p:grpSp>
          <p:nvGrpSpPr>
            <p:cNvPr id="25" name="Groupe 74">
              <a:extLst>
                <a:ext uri="{FF2B5EF4-FFF2-40B4-BE49-F238E27FC236}">
                  <a16:creationId xmlns:a16="http://schemas.microsoft.com/office/drawing/2014/main" id="{F1E74961-98F6-56E1-DA9B-F2149B514DF8}"/>
                </a:ext>
              </a:extLst>
            </p:cNvPr>
            <p:cNvGrpSpPr/>
            <p:nvPr/>
          </p:nvGrpSpPr>
          <p:grpSpPr>
            <a:xfrm flipH="1">
              <a:off x="1383775" y="807471"/>
              <a:ext cx="1260977" cy="1173794"/>
              <a:chOff x="104413" y="285342"/>
              <a:chExt cx="2111436" cy="2053595"/>
            </a:xfrm>
          </p:grpSpPr>
          <p:sp>
            <p:nvSpPr>
              <p:cNvPr id="77" name="ZoneTexte 73">
                <a:extLst>
                  <a:ext uri="{FF2B5EF4-FFF2-40B4-BE49-F238E27FC236}">
                    <a16:creationId xmlns:a16="http://schemas.microsoft.com/office/drawing/2014/main" id="{55DE5BC6-BCFB-DE19-F9AF-9BCDC0AB29B7}"/>
                  </a:ext>
                </a:extLst>
              </p:cNvPr>
              <p:cNvSpPr txBox="1"/>
              <p:nvPr/>
            </p:nvSpPr>
            <p:spPr>
              <a:xfrm rot="19636752">
                <a:off x="104413" y="536954"/>
                <a:ext cx="2052844" cy="14442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rtl="1"/>
                <a:r>
                  <a:rPr lang="ar-MA" sz="2800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 Massir Ballpoint" panose="00000100000000000000" pitchFamily="2" charset="-78"/>
                    <a:cs typeface="Boahmed Alhour" pitchFamily="2" charset="-78"/>
                  </a:rPr>
                  <a:t>المقاعد</a:t>
                </a:r>
              </a:p>
              <a:p>
                <a:pPr algn="ctr" rtl="1"/>
                <a:r>
                  <a:rPr lang="ar-MA" sz="2800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 Massir Ballpoint" panose="00000100000000000000" pitchFamily="2" charset="-78"/>
                    <a:cs typeface="Boahmed Alhour" pitchFamily="2" charset="-78"/>
                  </a:rPr>
                  <a:t>محدودة</a:t>
                </a:r>
                <a:endParaRPr lang="ar-MA" sz="20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 Massir Ballpoint" panose="00000100000000000000" pitchFamily="2" charset="-78"/>
                  <a:cs typeface="Boahmed Alhour" pitchFamily="2" charset="-78"/>
                </a:endParaRPr>
              </a:p>
            </p:txBody>
          </p:sp>
          <p:grpSp>
            <p:nvGrpSpPr>
              <p:cNvPr id="78" name="Graphique 72">
                <a:extLst>
                  <a:ext uri="{FF2B5EF4-FFF2-40B4-BE49-F238E27FC236}">
                    <a16:creationId xmlns:a16="http://schemas.microsoft.com/office/drawing/2014/main" id="{5292C18D-D155-25D0-FBA4-8FE0728799EC}"/>
                  </a:ext>
                </a:extLst>
              </p:cNvPr>
              <p:cNvGrpSpPr/>
              <p:nvPr/>
            </p:nvGrpSpPr>
            <p:grpSpPr>
              <a:xfrm>
                <a:off x="157532" y="285342"/>
                <a:ext cx="2058317" cy="2053595"/>
                <a:chOff x="157532" y="285342"/>
                <a:chExt cx="2058317" cy="2053595"/>
              </a:xfrm>
            </p:grpSpPr>
            <p:sp>
              <p:nvSpPr>
                <p:cNvPr id="79" name="Forme libre : forme 76">
                  <a:extLst>
                    <a:ext uri="{FF2B5EF4-FFF2-40B4-BE49-F238E27FC236}">
                      <a16:creationId xmlns:a16="http://schemas.microsoft.com/office/drawing/2014/main" id="{1CDF386D-4804-3125-5826-C435EE0B62FD}"/>
                    </a:ext>
                  </a:extLst>
                </p:cNvPr>
                <p:cNvSpPr/>
                <p:nvPr/>
              </p:nvSpPr>
              <p:spPr>
                <a:xfrm>
                  <a:off x="157532" y="285342"/>
                  <a:ext cx="2058317" cy="2053595"/>
                </a:xfrm>
                <a:custGeom>
                  <a:avLst/>
                  <a:gdLst>
                    <a:gd name="connsiteX0" fmla="*/ 1980901 w 2058317"/>
                    <a:gd name="connsiteY0" fmla="*/ 1385151 h 2053595"/>
                    <a:gd name="connsiteX1" fmla="*/ 2008670 w 2058317"/>
                    <a:gd name="connsiteY1" fmla="*/ 1343789 h 2053595"/>
                    <a:gd name="connsiteX2" fmla="*/ 2009059 w 2058317"/>
                    <a:gd name="connsiteY2" fmla="*/ 1343401 h 2053595"/>
                    <a:gd name="connsiteX3" fmla="*/ 2057217 w 2058317"/>
                    <a:gd name="connsiteY3" fmla="*/ 980854 h 2053595"/>
                    <a:gd name="connsiteX4" fmla="*/ 1070165 w 2058317"/>
                    <a:gd name="connsiteY4" fmla="*/ 792 h 2053595"/>
                    <a:gd name="connsiteX5" fmla="*/ 0 w 2058317"/>
                    <a:gd name="connsiteY5" fmla="*/ 1029206 h 2053595"/>
                    <a:gd name="connsiteX6" fmla="*/ 925301 w 2058317"/>
                    <a:gd name="connsiteY6" fmla="*/ 2052960 h 2053595"/>
                    <a:gd name="connsiteX7" fmla="*/ 1003170 w 2058317"/>
                    <a:gd name="connsiteY7" fmla="*/ 2035289 h 2053595"/>
                    <a:gd name="connsiteX8" fmla="*/ 1980707 w 2058317"/>
                    <a:gd name="connsiteY8" fmla="*/ 1385928 h 2053595"/>
                    <a:gd name="connsiteX9" fmla="*/ 1980901 w 2058317"/>
                    <a:gd name="connsiteY9" fmla="*/ 1385151 h 20535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058317" h="2053595">
                      <a:moveTo>
                        <a:pt x="1980901" y="1385151"/>
                      </a:moveTo>
                      <a:cubicBezTo>
                        <a:pt x="1991388" y="1372140"/>
                        <a:pt x="1997019" y="1356023"/>
                        <a:pt x="2008670" y="1343789"/>
                      </a:cubicBezTo>
                      <a:cubicBezTo>
                        <a:pt x="2008864" y="1343595"/>
                        <a:pt x="2009059" y="1343595"/>
                        <a:pt x="2009059" y="1343401"/>
                      </a:cubicBezTo>
                      <a:cubicBezTo>
                        <a:pt x="2045566" y="1229801"/>
                        <a:pt x="2063043" y="1107852"/>
                        <a:pt x="2057217" y="980854"/>
                      </a:cubicBezTo>
                      <a:cubicBezTo>
                        <a:pt x="2032944" y="450529"/>
                        <a:pt x="1600489" y="21376"/>
                        <a:pt x="1070165" y="792"/>
                      </a:cubicBezTo>
                      <a:cubicBezTo>
                        <a:pt x="483137" y="-21928"/>
                        <a:pt x="0" y="447228"/>
                        <a:pt x="0" y="1029206"/>
                      </a:cubicBezTo>
                      <a:cubicBezTo>
                        <a:pt x="0" y="1562444"/>
                        <a:pt x="405657" y="2000918"/>
                        <a:pt x="925301" y="2052960"/>
                      </a:cubicBezTo>
                      <a:cubicBezTo>
                        <a:pt x="952487" y="2055679"/>
                        <a:pt x="979868" y="2049659"/>
                        <a:pt x="1003170" y="2035289"/>
                      </a:cubicBezTo>
                      <a:cubicBezTo>
                        <a:pt x="1171142" y="1931593"/>
                        <a:pt x="1853709" y="1481273"/>
                        <a:pt x="1980707" y="1385928"/>
                      </a:cubicBezTo>
                      <a:cubicBezTo>
                        <a:pt x="1980707" y="1385733"/>
                        <a:pt x="1980707" y="1385345"/>
                        <a:pt x="1980901" y="1385151"/>
                      </a:cubicBezTo>
                      <a:close/>
                    </a:path>
                  </a:pathLst>
                </a:custGeom>
                <a:gradFill>
                  <a:gsLst>
                    <a:gs pos="50000">
                      <a:srgbClr val="38A4B4"/>
                    </a:gs>
                    <a:gs pos="0">
                      <a:srgbClr val="70B1B6"/>
                    </a:gs>
                    <a:gs pos="100000">
                      <a:srgbClr val="0097B2"/>
                    </a:gs>
                  </a:gsLst>
                  <a:lin ang="5400000" scaled="1"/>
                </a:gradFill>
                <a:ln w="136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endParaRPr>
                </a:p>
              </p:txBody>
            </p:sp>
            <p:sp>
              <p:nvSpPr>
                <p:cNvPr id="80" name="Forme libre : forme 77">
                  <a:extLst>
                    <a:ext uri="{FF2B5EF4-FFF2-40B4-BE49-F238E27FC236}">
                      <a16:creationId xmlns:a16="http://schemas.microsoft.com/office/drawing/2014/main" id="{DC6D587B-A6B0-065C-204C-F0CCED687C8C}"/>
                    </a:ext>
                  </a:extLst>
                </p:cNvPr>
                <p:cNvSpPr/>
                <p:nvPr/>
              </p:nvSpPr>
              <p:spPr>
                <a:xfrm>
                  <a:off x="930202" y="1608353"/>
                  <a:ext cx="1239495" cy="722809"/>
                </a:xfrm>
                <a:custGeom>
                  <a:avLst/>
                  <a:gdLst>
                    <a:gd name="connsiteX0" fmla="*/ 1239496 w 1239495"/>
                    <a:gd name="connsiteY0" fmla="*/ 0 h 722809"/>
                    <a:gd name="connsiteX1" fmla="*/ 1149587 w 1239495"/>
                    <a:gd name="connsiteY1" fmla="*/ 36313 h 722809"/>
                    <a:gd name="connsiteX2" fmla="*/ 1039871 w 1239495"/>
                    <a:gd name="connsiteY2" fmla="*/ 41168 h 722809"/>
                    <a:gd name="connsiteX3" fmla="*/ 822382 w 1239495"/>
                    <a:gd name="connsiteY3" fmla="*/ 88549 h 722809"/>
                    <a:gd name="connsiteX4" fmla="*/ 624894 w 1239495"/>
                    <a:gd name="connsiteY4" fmla="*/ 179235 h 722809"/>
                    <a:gd name="connsiteX5" fmla="*/ 452456 w 1239495"/>
                    <a:gd name="connsiteY5" fmla="*/ 307786 h 722809"/>
                    <a:gd name="connsiteX6" fmla="*/ 310505 w 1239495"/>
                    <a:gd name="connsiteY6" fmla="*/ 468961 h 722809"/>
                    <a:gd name="connsiteX7" fmla="*/ 218849 w 1239495"/>
                    <a:gd name="connsiteY7" fmla="*/ 625671 h 722809"/>
                    <a:gd name="connsiteX8" fmla="*/ 166612 w 1239495"/>
                    <a:gd name="connsiteY8" fmla="*/ 677130 h 722809"/>
                    <a:gd name="connsiteX9" fmla="*/ 0 w 1239495"/>
                    <a:gd name="connsiteY9" fmla="*/ 692471 h 722809"/>
                    <a:gd name="connsiteX10" fmla="*/ 179429 w 1239495"/>
                    <a:gd name="connsiteY10" fmla="*/ 721599 h 722809"/>
                    <a:gd name="connsiteX11" fmla="*/ 788982 w 1239495"/>
                    <a:gd name="connsiteY11" fmla="*/ 407598 h 722809"/>
                    <a:gd name="connsiteX12" fmla="*/ 1166093 w 1239495"/>
                    <a:gd name="connsiteY12" fmla="*/ 99424 h 722809"/>
                    <a:gd name="connsiteX13" fmla="*/ 1199687 w 1239495"/>
                    <a:gd name="connsiteY13" fmla="*/ 66218 h 722809"/>
                    <a:gd name="connsiteX14" fmla="*/ 1239496 w 1239495"/>
                    <a:gd name="connsiteY14" fmla="*/ 0 h 722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239495" h="722809">
                      <a:moveTo>
                        <a:pt x="1239496" y="0"/>
                      </a:moveTo>
                      <a:cubicBezTo>
                        <a:pt x="1220077" y="32818"/>
                        <a:pt x="1182016" y="36895"/>
                        <a:pt x="1149587" y="36313"/>
                      </a:cubicBezTo>
                      <a:cubicBezTo>
                        <a:pt x="1112886" y="35730"/>
                        <a:pt x="1076379" y="37284"/>
                        <a:pt x="1039871" y="41168"/>
                      </a:cubicBezTo>
                      <a:cubicBezTo>
                        <a:pt x="965886" y="48935"/>
                        <a:pt x="892872" y="64858"/>
                        <a:pt x="822382" y="88549"/>
                      </a:cubicBezTo>
                      <a:cubicBezTo>
                        <a:pt x="753640" y="111658"/>
                        <a:pt x="687228" y="142145"/>
                        <a:pt x="624894" y="179235"/>
                      </a:cubicBezTo>
                      <a:cubicBezTo>
                        <a:pt x="563142" y="215936"/>
                        <a:pt x="505274" y="259045"/>
                        <a:pt x="452456" y="307786"/>
                      </a:cubicBezTo>
                      <a:cubicBezTo>
                        <a:pt x="399831" y="356333"/>
                        <a:pt x="352061" y="410511"/>
                        <a:pt x="310505" y="468961"/>
                      </a:cubicBezTo>
                      <a:cubicBezTo>
                        <a:pt x="275357" y="518285"/>
                        <a:pt x="244676" y="570910"/>
                        <a:pt x="218849" y="625671"/>
                      </a:cubicBezTo>
                      <a:cubicBezTo>
                        <a:pt x="210693" y="642759"/>
                        <a:pt x="186031" y="665867"/>
                        <a:pt x="166612" y="677130"/>
                      </a:cubicBezTo>
                      <a:cubicBezTo>
                        <a:pt x="84471" y="724900"/>
                        <a:pt x="41168" y="698879"/>
                        <a:pt x="0" y="692471"/>
                      </a:cubicBezTo>
                      <a:cubicBezTo>
                        <a:pt x="108745" y="731891"/>
                        <a:pt x="179429" y="721599"/>
                        <a:pt x="179429" y="721599"/>
                      </a:cubicBezTo>
                      <a:cubicBezTo>
                        <a:pt x="285649" y="714996"/>
                        <a:pt x="563531" y="561200"/>
                        <a:pt x="788982" y="407598"/>
                      </a:cubicBezTo>
                      <a:cubicBezTo>
                        <a:pt x="940642" y="304291"/>
                        <a:pt x="1065310" y="197488"/>
                        <a:pt x="1166093" y="99424"/>
                      </a:cubicBezTo>
                      <a:cubicBezTo>
                        <a:pt x="1179686" y="87384"/>
                        <a:pt x="1190560" y="76315"/>
                        <a:pt x="1199687" y="66218"/>
                      </a:cubicBezTo>
                      <a:cubicBezTo>
                        <a:pt x="1225708" y="37672"/>
                        <a:pt x="1239496" y="0"/>
                        <a:pt x="1239496" y="0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005664"/>
                    </a:gs>
                    <a:gs pos="99350">
                      <a:srgbClr val="0097B2"/>
                    </a:gs>
                  </a:gsLst>
                  <a:lin ang="14501957" scaled="1"/>
                </a:gradFill>
                <a:ln w="1365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endParaRPr>
                </a:p>
              </p:txBody>
            </p:sp>
          </p:grpSp>
        </p:grpSp>
        <p:grpSp>
          <p:nvGrpSpPr>
            <p:cNvPr id="26" name="Groupe 4">
              <a:extLst>
                <a:ext uri="{FF2B5EF4-FFF2-40B4-BE49-F238E27FC236}">
                  <a16:creationId xmlns:a16="http://schemas.microsoft.com/office/drawing/2014/main" id="{04589EE9-6A5C-EAFE-1061-CDC2865C7AA5}"/>
                </a:ext>
              </a:extLst>
            </p:cNvPr>
            <p:cNvGrpSpPr/>
            <p:nvPr/>
          </p:nvGrpSpPr>
          <p:grpSpPr>
            <a:xfrm>
              <a:off x="1566945" y="1043727"/>
              <a:ext cx="885623" cy="937538"/>
              <a:chOff x="1240960" y="1969612"/>
              <a:chExt cx="625769" cy="662452"/>
            </a:xfrm>
          </p:grpSpPr>
          <p:grpSp>
            <p:nvGrpSpPr>
              <p:cNvPr id="27" name="Graphique 2">
                <a:extLst>
                  <a:ext uri="{FF2B5EF4-FFF2-40B4-BE49-F238E27FC236}">
                    <a16:creationId xmlns:a16="http://schemas.microsoft.com/office/drawing/2014/main" id="{9641DE07-60B7-D336-59BF-85F43C2D1870}"/>
                  </a:ext>
                </a:extLst>
              </p:cNvPr>
              <p:cNvGrpSpPr/>
              <p:nvPr/>
            </p:nvGrpSpPr>
            <p:grpSpPr>
              <a:xfrm flipH="1">
                <a:off x="1395728" y="1969612"/>
                <a:ext cx="319573" cy="383989"/>
                <a:chOff x="981026" y="1344834"/>
                <a:chExt cx="2418112" cy="2905527"/>
              </a:xfrm>
            </p:grpSpPr>
            <p:grpSp>
              <p:nvGrpSpPr>
                <p:cNvPr id="30" name="Graphique 2">
                  <a:extLst>
                    <a:ext uri="{FF2B5EF4-FFF2-40B4-BE49-F238E27FC236}">
                      <a16:creationId xmlns:a16="http://schemas.microsoft.com/office/drawing/2014/main" id="{478D601E-0CEF-B584-1CE0-6FE6542A1719}"/>
                    </a:ext>
                  </a:extLst>
                </p:cNvPr>
                <p:cNvGrpSpPr/>
                <p:nvPr/>
              </p:nvGrpSpPr>
              <p:grpSpPr>
                <a:xfrm>
                  <a:off x="1098817" y="1344834"/>
                  <a:ext cx="2184485" cy="887190"/>
                  <a:chOff x="1098817" y="1344834"/>
                  <a:chExt cx="2184485" cy="887190"/>
                </a:xfrm>
              </p:grpSpPr>
              <p:grpSp>
                <p:nvGrpSpPr>
                  <p:cNvPr id="61" name="Graphique 2">
                    <a:extLst>
                      <a:ext uri="{FF2B5EF4-FFF2-40B4-BE49-F238E27FC236}">
                        <a16:creationId xmlns:a16="http://schemas.microsoft.com/office/drawing/2014/main" id="{1D3F60EB-0A2E-BAEB-530B-107FC2E14637}"/>
                      </a:ext>
                    </a:extLst>
                  </p:cNvPr>
                  <p:cNvGrpSpPr/>
                  <p:nvPr/>
                </p:nvGrpSpPr>
                <p:grpSpPr>
                  <a:xfrm>
                    <a:off x="1098817" y="1344834"/>
                    <a:ext cx="770041" cy="887190"/>
                    <a:chOff x="1098817" y="1344834"/>
                    <a:chExt cx="770041" cy="887190"/>
                  </a:xfrm>
                </p:grpSpPr>
                <p:grpSp>
                  <p:nvGrpSpPr>
                    <p:cNvPr id="70" name="Graphique 2">
                      <a:extLst>
                        <a:ext uri="{FF2B5EF4-FFF2-40B4-BE49-F238E27FC236}">
                          <a16:creationId xmlns:a16="http://schemas.microsoft.com/office/drawing/2014/main" id="{54972D3F-EF22-657C-BB86-D59A355CABA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98817" y="1344834"/>
                      <a:ext cx="770041" cy="613581"/>
                      <a:chOff x="1098817" y="1344834"/>
                      <a:chExt cx="770041" cy="613581"/>
                    </a:xfrm>
                  </p:grpSpPr>
                  <p:sp>
                    <p:nvSpPr>
                      <p:cNvPr id="74" name="Forme libre : forme 54">
                        <a:extLst>
                          <a:ext uri="{FF2B5EF4-FFF2-40B4-BE49-F238E27FC236}">
                            <a16:creationId xmlns:a16="http://schemas.microsoft.com/office/drawing/2014/main" id="{2155D5B3-336D-6417-A4FB-9E1C1C8AC87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98817" y="1344834"/>
                        <a:ext cx="736597" cy="555518"/>
                      </a:xfrm>
                      <a:custGeom>
                        <a:avLst/>
                        <a:gdLst>
                          <a:gd name="connsiteX0" fmla="*/ 219483 w 736597"/>
                          <a:gd name="connsiteY0" fmla="*/ 62874 h 555518"/>
                          <a:gd name="connsiteX1" fmla="*/ 38464 w 736597"/>
                          <a:gd name="connsiteY1" fmla="*/ 555518 h 555518"/>
                          <a:gd name="connsiteX2" fmla="*/ 736597 w 736597"/>
                          <a:gd name="connsiteY2" fmla="*/ 152499 h 555518"/>
                          <a:gd name="connsiteX3" fmla="*/ 219483 w 736597"/>
                          <a:gd name="connsiteY3" fmla="*/ 62874 h 5555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36597" h="555518">
                            <a:moveTo>
                              <a:pt x="219483" y="62874"/>
                            </a:moveTo>
                            <a:cubicBezTo>
                              <a:pt x="26671" y="174021"/>
                              <a:pt x="-54404" y="394546"/>
                              <a:pt x="38464" y="555518"/>
                            </a:cubicBezTo>
                            <a:lnTo>
                              <a:pt x="736597" y="152499"/>
                            </a:lnTo>
                            <a:cubicBezTo>
                              <a:pt x="643729" y="-8178"/>
                              <a:pt x="412296" y="-48273"/>
                              <a:pt x="219483" y="62874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 w="2946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fr-FR" dirty="0"/>
                      </a:p>
                    </p:txBody>
                  </p:sp>
                  <p:sp>
                    <p:nvSpPr>
                      <p:cNvPr id="75" name="Forme libre : forme 55">
                        <a:extLst>
                          <a:ext uri="{FF2B5EF4-FFF2-40B4-BE49-F238E27FC236}">
                            <a16:creationId xmlns:a16="http://schemas.microsoft.com/office/drawing/2014/main" id="{4167B9B5-4079-3473-0F91-8EB9881C7A0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95894" y="1365598"/>
                        <a:ext cx="516229" cy="179200"/>
                      </a:xfrm>
                      <a:custGeom>
                        <a:avLst/>
                        <a:gdLst>
                          <a:gd name="connsiteX0" fmla="*/ 4127 w 516229"/>
                          <a:gd name="connsiteY0" fmla="*/ 62747 h 179200"/>
                          <a:gd name="connsiteX1" fmla="*/ 0 w 516229"/>
                          <a:gd name="connsiteY1" fmla="*/ 65400 h 179200"/>
                          <a:gd name="connsiteX2" fmla="*/ 457266 w 516229"/>
                          <a:gd name="connsiteY2" fmla="*/ 179201 h 179200"/>
                          <a:gd name="connsiteX3" fmla="*/ 516230 w 516229"/>
                          <a:gd name="connsiteY3" fmla="*/ 145296 h 179200"/>
                          <a:gd name="connsiteX4" fmla="*/ 4127 w 516229"/>
                          <a:gd name="connsiteY4" fmla="*/ 62747 h 1792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516229" h="179200">
                            <a:moveTo>
                              <a:pt x="4127" y="62747"/>
                            </a:moveTo>
                            <a:cubicBezTo>
                              <a:pt x="2653" y="63631"/>
                              <a:pt x="1474" y="64516"/>
                              <a:pt x="0" y="65400"/>
                            </a:cubicBezTo>
                            <a:cubicBezTo>
                              <a:pt x="177776" y="-8010"/>
                              <a:pt x="372357" y="37097"/>
                              <a:pt x="457266" y="179201"/>
                            </a:cubicBezTo>
                            <a:lnTo>
                              <a:pt x="516230" y="145296"/>
                            </a:lnTo>
                            <a:cubicBezTo>
                              <a:pt x="420708" y="-9189"/>
                              <a:pt x="193697" y="-46631"/>
                              <a:pt x="4127" y="62747"/>
                            </a:cubicBezTo>
                            <a:close/>
                          </a:path>
                        </a:pathLst>
                      </a:custGeom>
                      <a:solidFill>
                        <a:srgbClr val="37D3CF"/>
                      </a:solidFill>
                      <a:ln w="2946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fr-FR"/>
                      </a:p>
                    </p:txBody>
                  </p:sp>
                  <p:sp>
                    <p:nvSpPr>
                      <p:cNvPr id="76" name="Forme libre : forme 57">
                        <a:extLst>
                          <a:ext uri="{FF2B5EF4-FFF2-40B4-BE49-F238E27FC236}">
                            <a16:creationId xmlns:a16="http://schemas.microsoft.com/office/drawing/2014/main" id="{ECB1D19E-84C6-2814-983F-966E42935D96}"/>
                          </a:ext>
                        </a:extLst>
                      </p:cNvPr>
                      <p:cNvSpPr/>
                      <p:nvPr/>
                    </p:nvSpPr>
                    <p:spPr>
                      <a:xfrm rot="-1800044">
                        <a:off x="1083373" y="1632027"/>
                        <a:ext cx="806019" cy="133845"/>
                      </a:xfrm>
                      <a:custGeom>
                        <a:avLst/>
                        <a:gdLst>
                          <a:gd name="connsiteX0" fmla="*/ 806020 w 806019"/>
                          <a:gd name="connsiteY0" fmla="*/ 66923 h 133845"/>
                          <a:gd name="connsiteX1" fmla="*/ 403010 w 806019"/>
                          <a:gd name="connsiteY1" fmla="*/ 133845 h 133845"/>
                          <a:gd name="connsiteX2" fmla="*/ 0 w 806019"/>
                          <a:gd name="connsiteY2" fmla="*/ 66923 h 133845"/>
                          <a:gd name="connsiteX3" fmla="*/ 403010 w 806019"/>
                          <a:gd name="connsiteY3" fmla="*/ 0 h 133845"/>
                          <a:gd name="connsiteX4" fmla="*/ 806020 w 806019"/>
                          <a:gd name="connsiteY4" fmla="*/ 66923 h 13384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806019" h="133845">
                            <a:moveTo>
                              <a:pt x="806020" y="66923"/>
                            </a:moveTo>
                            <a:cubicBezTo>
                              <a:pt x="806020" y="103883"/>
                              <a:pt x="625586" y="133845"/>
                              <a:pt x="403010" y="133845"/>
                            </a:cubicBezTo>
                            <a:cubicBezTo>
                              <a:pt x="180434" y="133845"/>
                              <a:pt x="0" y="103883"/>
                              <a:pt x="0" y="66923"/>
                            </a:cubicBezTo>
                            <a:cubicBezTo>
                              <a:pt x="0" y="29962"/>
                              <a:pt x="180434" y="0"/>
                              <a:pt x="403010" y="0"/>
                            </a:cubicBezTo>
                            <a:cubicBezTo>
                              <a:pt x="625586" y="0"/>
                              <a:pt x="806020" y="29962"/>
                              <a:pt x="806020" y="66923"/>
                            </a:cubicBezTo>
                            <a:close/>
                          </a:path>
                        </a:pathLst>
                      </a:custGeom>
                      <a:solidFill>
                        <a:srgbClr val="05535F"/>
                      </a:solidFill>
                      <a:ln w="29459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fr-FR"/>
                      </a:p>
                    </p:txBody>
                  </p:sp>
                </p:grpSp>
                <p:grpSp>
                  <p:nvGrpSpPr>
                    <p:cNvPr id="71" name="Graphique 2">
                      <a:extLst>
                        <a:ext uri="{FF2B5EF4-FFF2-40B4-BE49-F238E27FC236}">
                          <a16:creationId xmlns:a16="http://schemas.microsoft.com/office/drawing/2014/main" id="{95EFE0AB-8BCB-6002-1673-C4C713E760B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6335" y="1651948"/>
                      <a:ext cx="412617" cy="580075"/>
                      <a:chOff x="1426335" y="1651948"/>
                      <a:chExt cx="412617" cy="580075"/>
                    </a:xfrm>
                  </p:grpSpPr>
                  <p:sp>
                    <p:nvSpPr>
                      <p:cNvPr id="72" name="Forme libre : forme 49">
                        <a:extLst>
                          <a:ext uri="{FF2B5EF4-FFF2-40B4-BE49-F238E27FC236}">
                            <a16:creationId xmlns:a16="http://schemas.microsoft.com/office/drawing/2014/main" id="{DEFCD908-40DE-C990-FCCA-AECEB68F333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6335" y="1651948"/>
                        <a:ext cx="412617" cy="580075"/>
                      </a:xfrm>
                      <a:custGeom>
                        <a:avLst/>
                        <a:gdLst>
                          <a:gd name="connsiteX0" fmla="*/ 412618 w 412617"/>
                          <a:gd name="connsiteY0" fmla="*/ 502538 h 580075"/>
                          <a:gd name="connsiteX1" fmla="*/ 278180 w 412617"/>
                          <a:gd name="connsiteY1" fmla="*/ 580075 h 580075"/>
                          <a:gd name="connsiteX2" fmla="*/ 10483 w 412617"/>
                          <a:gd name="connsiteY2" fmla="*/ 116324 h 580075"/>
                          <a:gd name="connsiteX3" fmla="*/ 38786 w 412617"/>
                          <a:gd name="connsiteY3" fmla="*/ 10483 h 580075"/>
                          <a:gd name="connsiteX4" fmla="*/ 144626 w 412617"/>
                          <a:gd name="connsiteY4" fmla="*/ 38786 h 580075"/>
                          <a:gd name="connsiteX5" fmla="*/ 412618 w 412617"/>
                          <a:gd name="connsiteY5" fmla="*/ 502538 h 58007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412617" h="580075">
                            <a:moveTo>
                              <a:pt x="412618" y="502538"/>
                            </a:moveTo>
                            <a:lnTo>
                              <a:pt x="278180" y="580075"/>
                            </a:lnTo>
                            <a:lnTo>
                              <a:pt x="10483" y="116324"/>
                            </a:lnTo>
                            <a:cubicBezTo>
                              <a:pt x="-11038" y="79176"/>
                              <a:pt x="1639" y="31710"/>
                              <a:pt x="38786" y="10483"/>
                            </a:cubicBezTo>
                            <a:cubicBezTo>
                              <a:pt x="75933" y="-11038"/>
                              <a:pt x="123399" y="1639"/>
                              <a:pt x="144626" y="38786"/>
                            </a:cubicBezTo>
                            <a:lnTo>
                              <a:pt x="412618" y="502538"/>
                            </a:lnTo>
                            <a:close/>
                          </a:path>
                        </a:pathLst>
                      </a:custGeom>
                      <a:solidFill>
                        <a:srgbClr val="044856"/>
                      </a:solidFill>
                      <a:ln w="2946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fr-FR" dirty="0"/>
                      </a:p>
                    </p:txBody>
                  </p:sp>
                  <p:sp>
                    <p:nvSpPr>
                      <p:cNvPr id="73" name="Forme libre : forme 50">
                        <a:extLst>
                          <a:ext uri="{FF2B5EF4-FFF2-40B4-BE49-F238E27FC236}">
                            <a16:creationId xmlns:a16="http://schemas.microsoft.com/office/drawing/2014/main" id="{9C7F940C-FCFD-8A05-7946-54A7BA0B70A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7280" y="1667149"/>
                        <a:ext cx="301895" cy="475249"/>
                      </a:xfrm>
                      <a:custGeom>
                        <a:avLst/>
                        <a:gdLst>
                          <a:gd name="connsiteX0" fmla="*/ 288923 w 301895"/>
                          <a:gd name="connsiteY0" fmla="*/ 475250 h 475249"/>
                          <a:gd name="connsiteX1" fmla="*/ 301896 w 301895"/>
                          <a:gd name="connsiteY1" fmla="*/ 467584 h 475249"/>
                          <a:gd name="connsiteX2" fmla="*/ 53362 w 301895"/>
                          <a:gd name="connsiteY2" fmla="*/ 37147 h 475249"/>
                          <a:gd name="connsiteX3" fmla="*/ 0 w 301895"/>
                          <a:gd name="connsiteY3" fmla="*/ 0 h 475249"/>
                          <a:gd name="connsiteX4" fmla="*/ 32135 w 301895"/>
                          <a:gd name="connsiteY4" fmla="*/ 30366 h 475249"/>
                          <a:gd name="connsiteX5" fmla="*/ 288923 w 301895"/>
                          <a:gd name="connsiteY5" fmla="*/ 475250 h 47524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301895" h="475249">
                            <a:moveTo>
                              <a:pt x="288923" y="475250"/>
                            </a:moveTo>
                            <a:lnTo>
                              <a:pt x="301896" y="467584"/>
                            </a:lnTo>
                            <a:lnTo>
                              <a:pt x="53362" y="37147"/>
                            </a:lnTo>
                            <a:cubicBezTo>
                              <a:pt x="41570" y="16510"/>
                              <a:pt x="21522" y="3833"/>
                              <a:pt x="0" y="0"/>
                            </a:cubicBezTo>
                            <a:cubicBezTo>
                              <a:pt x="12972" y="6486"/>
                              <a:pt x="24175" y="16805"/>
                              <a:pt x="32135" y="30366"/>
                            </a:cubicBezTo>
                            <a:lnTo>
                              <a:pt x="288923" y="475250"/>
                            </a:lnTo>
                            <a:close/>
                          </a:path>
                        </a:pathLst>
                      </a:custGeom>
                      <a:solidFill>
                        <a:srgbClr val="087379"/>
                      </a:solidFill>
                      <a:ln w="2946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fr-FR"/>
                      </a:p>
                    </p:txBody>
                  </p:sp>
                </p:grpSp>
              </p:grpSp>
              <p:grpSp>
                <p:nvGrpSpPr>
                  <p:cNvPr id="62" name="Graphique 2">
                    <a:extLst>
                      <a:ext uri="{FF2B5EF4-FFF2-40B4-BE49-F238E27FC236}">
                        <a16:creationId xmlns:a16="http://schemas.microsoft.com/office/drawing/2014/main" id="{AF2FE3BF-71E9-36BC-188F-747DFF3E9351}"/>
                      </a:ext>
                    </a:extLst>
                  </p:cNvPr>
                  <p:cNvGrpSpPr/>
                  <p:nvPr/>
                </p:nvGrpSpPr>
                <p:grpSpPr>
                  <a:xfrm>
                    <a:off x="2513728" y="1344834"/>
                    <a:ext cx="769575" cy="887190"/>
                    <a:chOff x="2513728" y="1344834"/>
                    <a:chExt cx="769575" cy="887190"/>
                  </a:xfrm>
                </p:grpSpPr>
                <p:grpSp>
                  <p:nvGrpSpPr>
                    <p:cNvPr id="63" name="Graphique 2">
                      <a:extLst>
                        <a:ext uri="{FF2B5EF4-FFF2-40B4-BE49-F238E27FC236}">
                          <a16:creationId xmlns:a16="http://schemas.microsoft.com/office/drawing/2014/main" id="{5177C374-0465-530C-7220-B79A2066459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513728" y="1344834"/>
                      <a:ext cx="769575" cy="613500"/>
                      <a:chOff x="2513728" y="1344834"/>
                      <a:chExt cx="769575" cy="613500"/>
                    </a:xfrm>
                  </p:grpSpPr>
                  <p:sp>
                    <p:nvSpPr>
                      <p:cNvPr id="67" name="Forme libre : forme 44">
                        <a:extLst>
                          <a:ext uri="{FF2B5EF4-FFF2-40B4-BE49-F238E27FC236}">
                            <a16:creationId xmlns:a16="http://schemas.microsoft.com/office/drawing/2014/main" id="{67E820AD-DBF0-2762-79DE-AAC6B291890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546815" y="1344834"/>
                        <a:ext cx="736487" cy="555518"/>
                      </a:xfrm>
                      <a:custGeom>
                        <a:avLst/>
                        <a:gdLst>
                          <a:gd name="connsiteX0" fmla="*/ 517114 w 736487"/>
                          <a:gd name="connsiteY0" fmla="*/ 62874 h 555518"/>
                          <a:gd name="connsiteX1" fmla="*/ 0 w 736487"/>
                          <a:gd name="connsiteY1" fmla="*/ 152499 h 555518"/>
                          <a:gd name="connsiteX2" fmla="*/ 697839 w 736487"/>
                          <a:gd name="connsiteY2" fmla="*/ 555518 h 555518"/>
                          <a:gd name="connsiteX3" fmla="*/ 517114 w 736487"/>
                          <a:gd name="connsiteY3" fmla="*/ 62874 h 5555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36487" h="555518">
                            <a:moveTo>
                              <a:pt x="517114" y="62874"/>
                            </a:moveTo>
                            <a:cubicBezTo>
                              <a:pt x="324302" y="-48273"/>
                              <a:pt x="92868" y="-8178"/>
                              <a:pt x="0" y="152499"/>
                            </a:cubicBezTo>
                            <a:lnTo>
                              <a:pt x="697839" y="555518"/>
                            </a:lnTo>
                            <a:cubicBezTo>
                              <a:pt x="791002" y="394841"/>
                              <a:pt x="709926" y="174316"/>
                              <a:pt x="517114" y="62874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 w="2946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fr-FR"/>
                      </a:p>
                    </p:txBody>
                  </p:sp>
                  <p:sp>
                    <p:nvSpPr>
                      <p:cNvPr id="68" name="Forme libre : forme 45">
                        <a:extLst>
                          <a:ext uri="{FF2B5EF4-FFF2-40B4-BE49-F238E27FC236}">
                            <a16:creationId xmlns:a16="http://schemas.microsoft.com/office/drawing/2014/main" id="{FF5572D4-6A93-89DC-2822-CC455AA22F6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032678" y="1400042"/>
                        <a:ext cx="223421" cy="486747"/>
                      </a:xfrm>
                      <a:custGeom>
                        <a:avLst/>
                        <a:gdLst>
                          <a:gd name="connsiteX0" fmla="*/ 4422 w 223421"/>
                          <a:gd name="connsiteY0" fmla="*/ 2359 h 486747"/>
                          <a:gd name="connsiteX1" fmla="*/ 0 w 223421"/>
                          <a:gd name="connsiteY1" fmla="*/ 0 h 486747"/>
                          <a:gd name="connsiteX2" fmla="*/ 130311 w 223421"/>
                          <a:gd name="connsiteY2" fmla="*/ 452843 h 486747"/>
                          <a:gd name="connsiteX3" fmla="*/ 189275 w 223421"/>
                          <a:gd name="connsiteY3" fmla="*/ 486748 h 486747"/>
                          <a:gd name="connsiteX4" fmla="*/ 4422 w 223421"/>
                          <a:gd name="connsiteY4" fmla="*/ 2359 h 48674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223421" h="486747">
                            <a:moveTo>
                              <a:pt x="4422" y="2359"/>
                            </a:moveTo>
                            <a:cubicBezTo>
                              <a:pt x="2948" y="1474"/>
                              <a:pt x="1474" y="884"/>
                              <a:pt x="0" y="0"/>
                            </a:cubicBezTo>
                            <a:cubicBezTo>
                              <a:pt x="152422" y="117044"/>
                              <a:pt x="210796" y="308382"/>
                              <a:pt x="130311" y="452843"/>
                            </a:cubicBezTo>
                            <a:lnTo>
                              <a:pt x="189275" y="486748"/>
                            </a:lnTo>
                            <a:cubicBezTo>
                              <a:pt x="275067" y="326955"/>
                              <a:pt x="193992" y="111737"/>
                              <a:pt x="4422" y="2359"/>
                            </a:cubicBezTo>
                            <a:close/>
                          </a:path>
                        </a:pathLst>
                      </a:custGeom>
                      <a:solidFill>
                        <a:srgbClr val="37D3CF"/>
                      </a:solidFill>
                      <a:ln w="2946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fr-FR"/>
                      </a:p>
                    </p:txBody>
                  </p:sp>
                  <p:sp>
                    <p:nvSpPr>
                      <p:cNvPr id="69" name="Forme libre : forme 46">
                        <a:extLst>
                          <a:ext uri="{FF2B5EF4-FFF2-40B4-BE49-F238E27FC236}">
                            <a16:creationId xmlns:a16="http://schemas.microsoft.com/office/drawing/2014/main" id="{B9B95EC3-96FA-3CA9-F95C-0C48D1A2A5EA}"/>
                          </a:ext>
                        </a:extLst>
                      </p:cNvPr>
                      <p:cNvSpPr/>
                      <p:nvPr/>
                    </p:nvSpPr>
                    <p:spPr>
                      <a:xfrm rot="-3599956">
                        <a:off x="2829282" y="1295859"/>
                        <a:ext cx="133845" cy="806019"/>
                      </a:xfrm>
                      <a:custGeom>
                        <a:avLst/>
                        <a:gdLst>
                          <a:gd name="connsiteX0" fmla="*/ 133845 w 133845"/>
                          <a:gd name="connsiteY0" fmla="*/ 403010 h 806019"/>
                          <a:gd name="connsiteX1" fmla="*/ 66923 w 133845"/>
                          <a:gd name="connsiteY1" fmla="*/ 806020 h 806019"/>
                          <a:gd name="connsiteX2" fmla="*/ 0 w 133845"/>
                          <a:gd name="connsiteY2" fmla="*/ 403010 h 806019"/>
                          <a:gd name="connsiteX3" fmla="*/ 66923 w 133845"/>
                          <a:gd name="connsiteY3" fmla="*/ 0 h 806019"/>
                          <a:gd name="connsiteX4" fmla="*/ 133845 w 133845"/>
                          <a:gd name="connsiteY4" fmla="*/ 403010 h 80601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33845" h="806019">
                            <a:moveTo>
                              <a:pt x="133845" y="403010"/>
                            </a:moveTo>
                            <a:cubicBezTo>
                              <a:pt x="133845" y="625586"/>
                              <a:pt x="103883" y="806020"/>
                              <a:pt x="66923" y="806020"/>
                            </a:cubicBezTo>
                            <a:cubicBezTo>
                              <a:pt x="29962" y="806020"/>
                              <a:pt x="0" y="625586"/>
                              <a:pt x="0" y="403010"/>
                            </a:cubicBezTo>
                            <a:cubicBezTo>
                              <a:pt x="0" y="180434"/>
                              <a:pt x="29962" y="0"/>
                              <a:pt x="66923" y="0"/>
                            </a:cubicBezTo>
                            <a:cubicBezTo>
                              <a:pt x="103883" y="0"/>
                              <a:pt x="133845" y="180434"/>
                              <a:pt x="133845" y="403010"/>
                            </a:cubicBezTo>
                            <a:close/>
                          </a:path>
                        </a:pathLst>
                      </a:custGeom>
                      <a:solidFill>
                        <a:srgbClr val="05535F"/>
                      </a:solidFill>
                      <a:ln w="29459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fr-FR"/>
                      </a:p>
                    </p:txBody>
                  </p:sp>
                </p:grpSp>
                <p:grpSp>
                  <p:nvGrpSpPr>
                    <p:cNvPr id="64" name="Graphique 2">
                      <a:extLst>
                        <a:ext uri="{FF2B5EF4-FFF2-40B4-BE49-F238E27FC236}">
                          <a16:creationId xmlns:a16="http://schemas.microsoft.com/office/drawing/2014/main" id="{E22F38A1-7C79-3369-B88B-5D06AB9914F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543277" y="1651948"/>
                      <a:ext cx="412322" cy="580075"/>
                      <a:chOff x="2543277" y="1651948"/>
                      <a:chExt cx="412322" cy="580075"/>
                    </a:xfrm>
                  </p:grpSpPr>
                  <p:sp>
                    <p:nvSpPr>
                      <p:cNvPr id="65" name="Forme libre : forme 42">
                        <a:extLst>
                          <a:ext uri="{FF2B5EF4-FFF2-40B4-BE49-F238E27FC236}">
                            <a16:creationId xmlns:a16="http://schemas.microsoft.com/office/drawing/2014/main" id="{D6832A64-3089-E23F-BB6B-B4B2BC010A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543277" y="1651948"/>
                        <a:ext cx="412322" cy="580075"/>
                      </a:xfrm>
                      <a:custGeom>
                        <a:avLst/>
                        <a:gdLst>
                          <a:gd name="connsiteX0" fmla="*/ 134438 w 412322"/>
                          <a:gd name="connsiteY0" fmla="*/ 580075 h 580075"/>
                          <a:gd name="connsiteX1" fmla="*/ 0 w 412322"/>
                          <a:gd name="connsiteY1" fmla="*/ 502538 h 580075"/>
                          <a:gd name="connsiteX2" fmla="*/ 267697 w 412322"/>
                          <a:gd name="connsiteY2" fmla="*/ 38786 h 580075"/>
                          <a:gd name="connsiteX3" fmla="*/ 373537 w 412322"/>
                          <a:gd name="connsiteY3" fmla="*/ 10483 h 580075"/>
                          <a:gd name="connsiteX4" fmla="*/ 401840 w 412322"/>
                          <a:gd name="connsiteY4" fmla="*/ 116324 h 580075"/>
                          <a:gd name="connsiteX5" fmla="*/ 134438 w 412322"/>
                          <a:gd name="connsiteY5" fmla="*/ 580075 h 58007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412322" h="580075">
                            <a:moveTo>
                              <a:pt x="134438" y="580075"/>
                            </a:moveTo>
                            <a:lnTo>
                              <a:pt x="0" y="502538"/>
                            </a:lnTo>
                            <a:lnTo>
                              <a:pt x="267697" y="38786"/>
                            </a:lnTo>
                            <a:cubicBezTo>
                              <a:pt x="289218" y="1639"/>
                              <a:pt x="336684" y="-11038"/>
                              <a:pt x="373537" y="10483"/>
                            </a:cubicBezTo>
                            <a:cubicBezTo>
                              <a:pt x="410684" y="32005"/>
                              <a:pt x="423361" y="79471"/>
                              <a:pt x="401840" y="116324"/>
                            </a:cubicBezTo>
                            <a:lnTo>
                              <a:pt x="134438" y="580075"/>
                            </a:lnTo>
                            <a:close/>
                          </a:path>
                        </a:pathLst>
                      </a:custGeom>
                      <a:solidFill>
                        <a:srgbClr val="044856"/>
                      </a:solidFill>
                      <a:ln w="2946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fr-FR"/>
                      </a:p>
                    </p:txBody>
                  </p:sp>
                  <p:sp>
                    <p:nvSpPr>
                      <p:cNvPr id="66" name="Forme libre : forme 43">
                        <a:extLst>
                          <a:ext uri="{FF2B5EF4-FFF2-40B4-BE49-F238E27FC236}">
                            <a16:creationId xmlns:a16="http://schemas.microsoft.com/office/drawing/2014/main" id="{3451F003-2D94-E15D-004F-B2C6F0B8019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666807" y="1701348"/>
                        <a:ext cx="271718" cy="495297"/>
                      </a:xfrm>
                      <a:custGeom>
                        <a:avLst/>
                        <a:gdLst>
                          <a:gd name="connsiteX0" fmla="*/ 0 w 271718"/>
                          <a:gd name="connsiteY0" fmla="*/ 487632 h 495297"/>
                          <a:gd name="connsiteX1" fmla="*/ 12972 w 271718"/>
                          <a:gd name="connsiteY1" fmla="*/ 495297 h 495297"/>
                          <a:gd name="connsiteX2" fmla="*/ 261505 w 271718"/>
                          <a:gd name="connsiteY2" fmla="*/ 64860 h 495297"/>
                          <a:gd name="connsiteX3" fmla="*/ 267107 w 271718"/>
                          <a:gd name="connsiteY3" fmla="*/ 0 h 495297"/>
                          <a:gd name="connsiteX4" fmla="*/ 256788 w 271718"/>
                          <a:gd name="connsiteY4" fmla="*/ 43044 h 495297"/>
                          <a:gd name="connsiteX5" fmla="*/ 0 w 271718"/>
                          <a:gd name="connsiteY5" fmla="*/ 487632 h 49529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271718" h="495297">
                            <a:moveTo>
                              <a:pt x="0" y="487632"/>
                            </a:moveTo>
                            <a:lnTo>
                              <a:pt x="12972" y="495297"/>
                            </a:lnTo>
                            <a:lnTo>
                              <a:pt x="261505" y="64860"/>
                            </a:lnTo>
                            <a:cubicBezTo>
                              <a:pt x="273298" y="44223"/>
                              <a:pt x="274477" y="20637"/>
                              <a:pt x="267107" y="0"/>
                            </a:cubicBezTo>
                            <a:cubicBezTo>
                              <a:pt x="267991" y="14446"/>
                              <a:pt x="264748" y="29482"/>
                              <a:pt x="256788" y="43044"/>
                            </a:cubicBezTo>
                            <a:lnTo>
                              <a:pt x="0" y="487632"/>
                            </a:lnTo>
                            <a:close/>
                          </a:path>
                        </a:pathLst>
                      </a:custGeom>
                      <a:solidFill>
                        <a:srgbClr val="087379"/>
                      </a:solidFill>
                      <a:ln w="2946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fr-FR"/>
                      </a:p>
                    </p:txBody>
                  </p:sp>
                </p:grpSp>
              </p:grpSp>
            </p:grpSp>
            <p:grpSp>
              <p:nvGrpSpPr>
                <p:cNvPr id="32" name="Graphique 2">
                  <a:extLst>
                    <a:ext uri="{FF2B5EF4-FFF2-40B4-BE49-F238E27FC236}">
                      <a16:creationId xmlns:a16="http://schemas.microsoft.com/office/drawing/2014/main" id="{E63E833D-4ACF-BC24-C2A9-F5CC845624B9}"/>
                    </a:ext>
                  </a:extLst>
                </p:cNvPr>
                <p:cNvGrpSpPr/>
                <p:nvPr/>
              </p:nvGrpSpPr>
              <p:grpSpPr>
                <a:xfrm>
                  <a:off x="1307097" y="3544562"/>
                  <a:ext cx="1765971" cy="705798"/>
                  <a:chOff x="1307097" y="3544562"/>
                  <a:chExt cx="1765971" cy="705798"/>
                </a:xfrm>
              </p:grpSpPr>
              <p:grpSp>
                <p:nvGrpSpPr>
                  <p:cNvPr id="54" name="Graphique 2">
                    <a:extLst>
                      <a:ext uri="{FF2B5EF4-FFF2-40B4-BE49-F238E27FC236}">
                        <a16:creationId xmlns:a16="http://schemas.microsoft.com/office/drawing/2014/main" id="{58FBF9E4-2ADE-2370-DAA9-B6F5658EFBA8}"/>
                      </a:ext>
                    </a:extLst>
                  </p:cNvPr>
                  <p:cNvGrpSpPr/>
                  <p:nvPr/>
                </p:nvGrpSpPr>
                <p:grpSpPr>
                  <a:xfrm>
                    <a:off x="1307097" y="3544562"/>
                    <a:ext cx="737344" cy="705798"/>
                    <a:chOff x="1307097" y="3544562"/>
                    <a:chExt cx="737344" cy="705798"/>
                  </a:xfrm>
                </p:grpSpPr>
                <p:sp>
                  <p:nvSpPr>
                    <p:cNvPr id="59" name="Forme libre : forme 36">
                      <a:extLst>
                        <a:ext uri="{FF2B5EF4-FFF2-40B4-BE49-F238E27FC236}">
                          <a16:creationId xmlns:a16="http://schemas.microsoft.com/office/drawing/2014/main" id="{74B26A51-D184-65D7-DD94-E57B0733F88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1910" y="3575813"/>
                      <a:ext cx="692531" cy="674548"/>
                    </a:xfrm>
                    <a:custGeom>
                      <a:avLst/>
                      <a:gdLst>
                        <a:gd name="connsiteX0" fmla="*/ 692532 w 692531"/>
                        <a:gd name="connsiteY0" fmla="*/ 63386 h 674548"/>
                        <a:gd name="connsiteX1" fmla="*/ 438692 w 692531"/>
                        <a:gd name="connsiteY1" fmla="*/ 0 h 674548"/>
                        <a:gd name="connsiteX2" fmla="*/ 0 w 692531"/>
                        <a:gd name="connsiteY2" fmla="*/ 674548 h 674548"/>
                        <a:gd name="connsiteX3" fmla="*/ 65745 w 692531"/>
                        <a:gd name="connsiteY3" fmla="*/ 674548 h 67454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692531" h="674548">
                          <a:moveTo>
                            <a:pt x="692532" y="63386"/>
                          </a:moveTo>
                          <a:lnTo>
                            <a:pt x="438692" y="0"/>
                          </a:lnTo>
                          <a:lnTo>
                            <a:pt x="0" y="674548"/>
                          </a:lnTo>
                          <a:lnTo>
                            <a:pt x="65745" y="674548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946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fr-FR" dirty="0"/>
                    </a:p>
                  </p:txBody>
                </p:sp>
                <p:sp>
                  <p:nvSpPr>
                    <p:cNvPr id="60" name="Forme libre : forme 37">
                      <a:extLst>
                        <a:ext uri="{FF2B5EF4-FFF2-40B4-BE49-F238E27FC236}">
                          <a16:creationId xmlns:a16="http://schemas.microsoft.com/office/drawing/2014/main" id="{31EFCBC0-1247-331B-FCFE-96D540607F3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07097" y="3544562"/>
                      <a:ext cx="483504" cy="705798"/>
                    </a:xfrm>
                    <a:custGeom>
                      <a:avLst/>
                      <a:gdLst>
                        <a:gd name="connsiteX0" fmla="*/ 358501 w 483504"/>
                        <a:gd name="connsiteY0" fmla="*/ 0 h 705798"/>
                        <a:gd name="connsiteX1" fmla="*/ 0 w 483504"/>
                        <a:gd name="connsiteY1" fmla="*/ 705799 h 705798"/>
                        <a:gd name="connsiteX2" fmla="*/ 44813 w 483504"/>
                        <a:gd name="connsiteY2" fmla="*/ 705799 h 705798"/>
                        <a:gd name="connsiteX3" fmla="*/ 483505 w 483504"/>
                        <a:gd name="connsiteY3" fmla="*/ 31251 h 70579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83504" h="705798">
                          <a:moveTo>
                            <a:pt x="358501" y="0"/>
                          </a:moveTo>
                          <a:lnTo>
                            <a:pt x="0" y="705799"/>
                          </a:lnTo>
                          <a:lnTo>
                            <a:pt x="44813" y="705799"/>
                          </a:lnTo>
                          <a:lnTo>
                            <a:pt x="483505" y="31251"/>
                          </a:lnTo>
                          <a:close/>
                        </a:path>
                      </a:pathLst>
                    </a:custGeom>
                    <a:solidFill>
                      <a:srgbClr val="0B9392"/>
                    </a:solidFill>
                    <a:ln w="2946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fr-FR"/>
                    </a:p>
                  </p:txBody>
                </p:sp>
              </p:grpSp>
              <p:grpSp>
                <p:nvGrpSpPr>
                  <p:cNvPr id="56" name="Graphique 2">
                    <a:extLst>
                      <a:ext uri="{FF2B5EF4-FFF2-40B4-BE49-F238E27FC236}">
                        <a16:creationId xmlns:a16="http://schemas.microsoft.com/office/drawing/2014/main" id="{C15AAD80-DFFB-159B-9C23-1EC1EAA4C471}"/>
                      </a:ext>
                    </a:extLst>
                  </p:cNvPr>
                  <p:cNvGrpSpPr/>
                  <p:nvPr/>
                </p:nvGrpSpPr>
                <p:grpSpPr>
                  <a:xfrm>
                    <a:off x="2335429" y="3544562"/>
                    <a:ext cx="737639" cy="705798"/>
                    <a:chOff x="2335429" y="3544562"/>
                    <a:chExt cx="737639" cy="705798"/>
                  </a:xfrm>
                </p:grpSpPr>
                <p:sp>
                  <p:nvSpPr>
                    <p:cNvPr id="57" name="Forme libre : forme 34">
                      <a:extLst>
                        <a:ext uri="{FF2B5EF4-FFF2-40B4-BE49-F238E27FC236}">
                          <a16:creationId xmlns:a16="http://schemas.microsoft.com/office/drawing/2014/main" id="{1B1C502A-A6D0-5BBB-9F7E-6969C3D9C41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335429" y="3575813"/>
                      <a:ext cx="692826" cy="674548"/>
                    </a:xfrm>
                    <a:custGeom>
                      <a:avLst/>
                      <a:gdLst>
                        <a:gd name="connsiteX0" fmla="*/ 0 w 692826"/>
                        <a:gd name="connsiteY0" fmla="*/ 63386 h 674548"/>
                        <a:gd name="connsiteX1" fmla="*/ 254135 w 692826"/>
                        <a:gd name="connsiteY1" fmla="*/ 0 h 674548"/>
                        <a:gd name="connsiteX2" fmla="*/ 692827 w 692826"/>
                        <a:gd name="connsiteY2" fmla="*/ 674548 h 674548"/>
                        <a:gd name="connsiteX3" fmla="*/ 627082 w 692826"/>
                        <a:gd name="connsiteY3" fmla="*/ 674548 h 67454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692826" h="674548">
                          <a:moveTo>
                            <a:pt x="0" y="63386"/>
                          </a:moveTo>
                          <a:lnTo>
                            <a:pt x="254135" y="0"/>
                          </a:lnTo>
                          <a:lnTo>
                            <a:pt x="692827" y="674548"/>
                          </a:lnTo>
                          <a:lnTo>
                            <a:pt x="627082" y="674548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946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fr-FR"/>
                    </a:p>
                  </p:txBody>
                </p:sp>
                <p:sp>
                  <p:nvSpPr>
                    <p:cNvPr id="58" name="Forme libre : forme 35">
                      <a:extLst>
                        <a:ext uri="{FF2B5EF4-FFF2-40B4-BE49-F238E27FC236}">
                          <a16:creationId xmlns:a16="http://schemas.microsoft.com/office/drawing/2014/main" id="{991DB0A6-C5E5-500D-BEAF-D38AB9689EE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89564" y="3544562"/>
                      <a:ext cx="483504" cy="705798"/>
                    </a:xfrm>
                    <a:custGeom>
                      <a:avLst/>
                      <a:gdLst>
                        <a:gd name="connsiteX0" fmla="*/ 125004 w 483504"/>
                        <a:gd name="connsiteY0" fmla="*/ 0 h 705798"/>
                        <a:gd name="connsiteX1" fmla="*/ 483505 w 483504"/>
                        <a:gd name="connsiteY1" fmla="*/ 705799 h 705798"/>
                        <a:gd name="connsiteX2" fmla="*/ 438692 w 483504"/>
                        <a:gd name="connsiteY2" fmla="*/ 705799 h 705798"/>
                        <a:gd name="connsiteX3" fmla="*/ 0 w 483504"/>
                        <a:gd name="connsiteY3" fmla="*/ 31251 h 70579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83504" h="705798">
                          <a:moveTo>
                            <a:pt x="125004" y="0"/>
                          </a:moveTo>
                          <a:lnTo>
                            <a:pt x="483505" y="705799"/>
                          </a:lnTo>
                          <a:lnTo>
                            <a:pt x="438692" y="705799"/>
                          </a:lnTo>
                          <a:lnTo>
                            <a:pt x="0" y="31251"/>
                          </a:lnTo>
                          <a:close/>
                        </a:path>
                      </a:pathLst>
                    </a:custGeom>
                    <a:solidFill>
                      <a:srgbClr val="0B9392"/>
                    </a:solidFill>
                    <a:ln w="2946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fr-FR"/>
                    </a:p>
                  </p:txBody>
                </p:sp>
              </p:grpSp>
            </p:grpSp>
            <p:sp>
              <p:nvSpPr>
                <p:cNvPr id="33" name="Forme libre : forme 13">
                  <a:extLst>
                    <a:ext uri="{FF2B5EF4-FFF2-40B4-BE49-F238E27FC236}">
                      <a16:creationId xmlns:a16="http://schemas.microsoft.com/office/drawing/2014/main" id="{7D5EE78B-D518-FF16-5105-5116FA497A84}"/>
                    </a:ext>
                  </a:extLst>
                </p:cNvPr>
                <p:cNvSpPr/>
                <p:nvPr/>
              </p:nvSpPr>
              <p:spPr>
                <a:xfrm>
                  <a:off x="981026" y="1717268"/>
                  <a:ext cx="2418112" cy="2418112"/>
                </a:xfrm>
                <a:custGeom>
                  <a:avLst/>
                  <a:gdLst>
                    <a:gd name="connsiteX0" fmla="*/ 2418113 w 2418112"/>
                    <a:gd name="connsiteY0" fmla="*/ 1209056 h 2418112"/>
                    <a:gd name="connsiteX1" fmla="*/ 1209056 w 2418112"/>
                    <a:gd name="connsiteY1" fmla="*/ 2418113 h 2418112"/>
                    <a:gd name="connsiteX2" fmla="*/ 0 w 2418112"/>
                    <a:gd name="connsiteY2" fmla="*/ 1209056 h 2418112"/>
                    <a:gd name="connsiteX3" fmla="*/ 1209056 w 2418112"/>
                    <a:gd name="connsiteY3" fmla="*/ 0 h 2418112"/>
                    <a:gd name="connsiteX4" fmla="*/ 2418113 w 2418112"/>
                    <a:gd name="connsiteY4" fmla="*/ 1209056 h 24181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18112" h="2418112">
                      <a:moveTo>
                        <a:pt x="2418113" y="1209056"/>
                      </a:moveTo>
                      <a:cubicBezTo>
                        <a:pt x="2418113" y="1876800"/>
                        <a:pt x="1876800" y="2418113"/>
                        <a:pt x="1209056" y="2418113"/>
                      </a:cubicBezTo>
                      <a:cubicBezTo>
                        <a:pt x="541313" y="2418113"/>
                        <a:pt x="0" y="1876800"/>
                        <a:pt x="0" y="1209056"/>
                      </a:cubicBezTo>
                      <a:cubicBezTo>
                        <a:pt x="0" y="541313"/>
                        <a:pt x="541313" y="0"/>
                        <a:pt x="1209056" y="0"/>
                      </a:cubicBezTo>
                      <a:cubicBezTo>
                        <a:pt x="1876800" y="0"/>
                        <a:pt x="2418113" y="541313"/>
                        <a:pt x="2418113" y="1209056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294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/>
                </a:p>
              </p:txBody>
            </p:sp>
            <p:sp>
              <p:nvSpPr>
                <p:cNvPr id="34" name="Forme libre : forme 14">
                  <a:extLst>
                    <a:ext uri="{FF2B5EF4-FFF2-40B4-BE49-F238E27FC236}">
                      <a16:creationId xmlns:a16="http://schemas.microsoft.com/office/drawing/2014/main" id="{E75777E0-B583-2CD6-DAD9-173A6C60D7FE}"/>
                    </a:ext>
                  </a:extLst>
                </p:cNvPr>
                <p:cNvSpPr/>
                <p:nvPr/>
              </p:nvSpPr>
              <p:spPr>
                <a:xfrm>
                  <a:off x="1018763" y="1755005"/>
                  <a:ext cx="2342638" cy="2342639"/>
                </a:xfrm>
                <a:custGeom>
                  <a:avLst/>
                  <a:gdLst>
                    <a:gd name="connsiteX0" fmla="*/ 2342639 w 2342638"/>
                    <a:gd name="connsiteY0" fmla="*/ 1171320 h 2342639"/>
                    <a:gd name="connsiteX1" fmla="*/ 1171319 w 2342638"/>
                    <a:gd name="connsiteY1" fmla="*/ 2342639 h 2342639"/>
                    <a:gd name="connsiteX2" fmla="*/ 0 w 2342638"/>
                    <a:gd name="connsiteY2" fmla="*/ 1171320 h 2342639"/>
                    <a:gd name="connsiteX3" fmla="*/ 1171319 w 2342638"/>
                    <a:gd name="connsiteY3" fmla="*/ 0 h 2342639"/>
                    <a:gd name="connsiteX4" fmla="*/ 2342639 w 2342638"/>
                    <a:gd name="connsiteY4" fmla="*/ 1171320 h 23426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42638" h="2342639">
                      <a:moveTo>
                        <a:pt x="2342639" y="1171320"/>
                      </a:moveTo>
                      <a:cubicBezTo>
                        <a:pt x="2342639" y="1818221"/>
                        <a:pt x="1818221" y="2342639"/>
                        <a:pt x="1171319" y="2342639"/>
                      </a:cubicBezTo>
                      <a:cubicBezTo>
                        <a:pt x="524417" y="2342639"/>
                        <a:pt x="0" y="1818221"/>
                        <a:pt x="0" y="1171320"/>
                      </a:cubicBezTo>
                      <a:cubicBezTo>
                        <a:pt x="0" y="524418"/>
                        <a:pt x="524417" y="0"/>
                        <a:pt x="1171319" y="0"/>
                      </a:cubicBezTo>
                      <a:cubicBezTo>
                        <a:pt x="1818221" y="0"/>
                        <a:pt x="2342639" y="524418"/>
                        <a:pt x="2342639" y="1171320"/>
                      </a:cubicBezTo>
                      <a:close/>
                    </a:path>
                  </a:pathLst>
                </a:custGeom>
                <a:solidFill>
                  <a:srgbClr val="098385"/>
                </a:solidFill>
                <a:ln w="294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35" name="Forme libre : forme 15">
                  <a:extLst>
                    <a:ext uri="{FF2B5EF4-FFF2-40B4-BE49-F238E27FC236}">
                      <a16:creationId xmlns:a16="http://schemas.microsoft.com/office/drawing/2014/main" id="{2DD53EE6-2693-268C-21A1-8EBA416FBD56}"/>
                    </a:ext>
                  </a:extLst>
                </p:cNvPr>
                <p:cNvSpPr/>
                <p:nvPr/>
              </p:nvSpPr>
              <p:spPr>
                <a:xfrm>
                  <a:off x="1140524" y="1876766"/>
                  <a:ext cx="2099117" cy="2099117"/>
                </a:xfrm>
                <a:custGeom>
                  <a:avLst/>
                  <a:gdLst>
                    <a:gd name="connsiteX0" fmla="*/ 2099118 w 2099117"/>
                    <a:gd name="connsiteY0" fmla="*/ 1049559 h 2099117"/>
                    <a:gd name="connsiteX1" fmla="*/ 1049559 w 2099117"/>
                    <a:gd name="connsiteY1" fmla="*/ 2099118 h 2099117"/>
                    <a:gd name="connsiteX2" fmla="*/ 0 w 2099117"/>
                    <a:gd name="connsiteY2" fmla="*/ 1049559 h 2099117"/>
                    <a:gd name="connsiteX3" fmla="*/ 1049559 w 2099117"/>
                    <a:gd name="connsiteY3" fmla="*/ 0 h 2099117"/>
                    <a:gd name="connsiteX4" fmla="*/ 2099118 w 2099117"/>
                    <a:gd name="connsiteY4" fmla="*/ 1049559 h 20991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099117" h="2099117">
                      <a:moveTo>
                        <a:pt x="2099118" y="1049559"/>
                      </a:moveTo>
                      <a:cubicBezTo>
                        <a:pt x="2099118" y="1629214"/>
                        <a:pt x="1629214" y="2099118"/>
                        <a:pt x="1049559" y="2099118"/>
                      </a:cubicBezTo>
                      <a:cubicBezTo>
                        <a:pt x="469904" y="2099118"/>
                        <a:pt x="0" y="1629214"/>
                        <a:pt x="0" y="1049559"/>
                      </a:cubicBezTo>
                      <a:cubicBezTo>
                        <a:pt x="0" y="469903"/>
                        <a:pt x="469904" y="0"/>
                        <a:pt x="1049559" y="0"/>
                      </a:cubicBezTo>
                      <a:cubicBezTo>
                        <a:pt x="1629214" y="0"/>
                        <a:pt x="2099118" y="469903"/>
                        <a:pt x="2099118" y="1049559"/>
                      </a:cubicBezTo>
                      <a:close/>
                    </a:path>
                  </a:pathLst>
                </a:custGeom>
                <a:solidFill>
                  <a:srgbClr val="0B9392"/>
                </a:solidFill>
                <a:ln w="294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36" name="Forme libre : forme 16">
                  <a:extLst>
                    <a:ext uri="{FF2B5EF4-FFF2-40B4-BE49-F238E27FC236}">
                      <a16:creationId xmlns:a16="http://schemas.microsoft.com/office/drawing/2014/main" id="{A6BC82DC-86F8-B4E1-37A9-B958F9694196}"/>
                    </a:ext>
                  </a:extLst>
                </p:cNvPr>
                <p:cNvSpPr/>
                <p:nvPr/>
              </p:nvSpPr>
              <p:spPr>
                <a:xfrm>
                  <a:off x="1173544" y="1909786"/>
                  <a:ext cx="2033077" cy="2033078"/>
                </a:xfrm>
                <a:custGeom>
                  <a:avLst/>
                  <a:gdLst>
                    <a:gd name="connsiteX0" fmla="*/ 2033078 w 2033077"/>
                    <a:gd name="connsiteY0" fmla="*/ 1016539 h 2033078"/>
                    <a:gd name="connsiteX1" fmla="*/ 1016539 w 2033077"/>
                    <a:gd name="connsiteY1" fmla="*/ 2033078 h 2033078"/>
                    <a:gd name="connsiteX2" fmla="*/ 0 w 2033077"/>
                    <a:gd name="connsiteY2" fmla="*/ 1016539 h 2033078"/>
                    <a:gd name="connsiteX3" fmla="*/ 1016539 w 2033077"/>
                    <a:gd name="connsiteY3" fmla="*/ 0 h 2033078"/>
                    <a:gd name="connsiteX4" fmla="*/ 2033078 w 2033077"/>
                    <a:gd name="connsiteY4" fmla="*/ 1016539 h 20330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033077" h="2033078">
                      <a:moveTo>
                        <a:pt x="2033078" y="1016539"/>
                      </a:moveTo>
                      <a:cubicBezTo>
                        <a:pt x="2033078" y="1577958"/>
                        <a:pt x="1577958" y="2033078"/>
                        <a:pt x="1016539" y="2033078"/>
                      </a:cubicBezTo>
                      <a:cubicBezTo>
                        <a:pt x="455120" y="2033078"/>
                        <a:pt x="0" y="1577958"/>
                        <a:pt x="0" y="1016539"/>
                      </a:cubicBezTo>
                      <a:cubicBezTo>
                        <a:pt x="0" y="455120"/>
                        <a:pt x="455120" y="0"/>
                        <a:pt x="1016539" y="0"/>
                      </a:cubicBezTo>
                      <a:cubicBezTo>
                        <a:pt x="1577958" y="0"/>
                        <a:pt x="2033078" y="455120"/>
                        <a:pt x="2033078" y="1016539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294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37" name="Forme libre : forme 17">
                  <a:extLst>
                    <a:ext uri="{FF2B5EF4-FFF2-40B4-BE49-F238E27FC236}">
                      <a16:creationId xmlns:a16="http://schemas.microsoft.com/office/drawing/2014/main" id="{049A2DA3-A7DE-D264-103D-E658D5155659}"/>
                    </a:ext>
                  </a:extLst>
                </p:cNvPr>
                <p:cNvSpPr/>
                <p:nvPr/>
              </p:nvSpPr>
              <p:spPr>
                <a:xfrm>
                  <a:off x="1173839" y="2127068"/>
                  <a:ext cx="1788377" cy="1815795"/>
                </a:xfrm>
                <a:custGeom>
                  <a:avLst/>
                  <a:gdLst>
                    <a:gd name="connsiteX0" fmla="*/ 1160706 w 1788377"/>
                    <a:gd name="connsiteY0" fmla="*/ 1677525 h 1815795"/>
                    <a:gd name="connsiteX1" fmla="*/ 144167 w 1788377"/>
                    <a:gd name="connsiteY1" fmla="*/ 660986 h 1815795"/>
                    <a:gd name="connsiteX2" fmla="*/ 388867 w 1788377"/>
                    <a:gd name="connsiteY2" fmla="*/ 0 h 1815795"/>
                    <a:gd name="connsiteX3" fmla="*/ 0 w 1788377"/>
                    <a:gd name="connsiteY3" fmla="*/ 799257 h 1815795"/>
                    <a:gd name="connsiteX4" fmla="*/ 1016539 w 1788377"/>
                    <a:gd name="connsiteY4" fmla="*/ 1815796 h 1815795"/>
                    <a:gd name="connsiteX5" fmla="*/ 1788377 w 1788377"/>
                    <a:gd name="connsiteY5" fmla="*/ 1460243 h 1815795"/>
                    <a:gd name="connsiteX6" fmla="*/ 1160706 w 1788377"/>
                    <a:gd name="connsiteY6" fmla="*/ 1677525 h 18157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88377" h="1815795">
                      <a:moveTo>
                        <a:pt x="1160706" y="1677525"/>
                      </a:moveTo>
                      <a:cubicBezTo>
                        <a:pt x="599369" y="1677525"/>
                        <a:pt x="144167" y="1222323"/>
                        <a:pt x="144167" y="660986"/>
                      </a:cubicBezTo>
                      <a:cubicBezTo>
                        <a:pt x="144167" y="408620"/>
                        <a:pt x="236445" y="177776"/>
                        <a:pt x="388867" y="0"/>
                      </a:cubicBezTo>
                      <a:cubicBezTo>
                        <a:pt x="152127" y="186031"/>
                        <a:pt x="0" y="474955"/>
                        <a:pt x="0" y="799257"/>
                      </a:cubicBezTo>
                      <a:cubicBezTo>
                        <a:pt x="0" y="1360594"/>
                        <a:pt x="455202" y="1815796"/>
                        <a:pt x="1016539" y="1815796"/>
                      </a:cubicBezTo>
                      <a:cubicBezTo>
                        <a:pt x="1325510" y="1815796"/>
                        <a:pt x="1602051" y="1677820"/>
                        <a:pt x="1788377" y="1460243"/>
                      </a:cubicBezTo>
                      <a:cubicBezTo>
                        <a:pt x="1615318" y="1596155"/>
                        <a:pt x="1397446" y="1677525"/>
                        <a:pt x="1160706" y="1677525"/>
                      </a:cubicBezTo>
                      <a:close/>
                    </a:path>
                  </a:pathLst>
                </a:custGeom>
                <a:solidFill>
                  <a:srgbClr val="EAE2D8"/>
                </a:solidFill>
                <a:ln w="2946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grpSp>
              <p:nvGrpSpPr>
                <p:cNvPr id="38" name="Graphique 2">
                  <a:extLst>
                    <a:ext uri="{FF2B5EF4-FFF2-40B4-BE49-F238E27FC236}">
                      <a16:creationId xmlns:a16="http://schemas.microsoft.com/office/drawing/2014/main" id="{4FB4CF3C-553A-4581-53D9-594E0B09BB4D}"/>
                    </a:ext>
                  </a:extLst>
                </p:cNvPr>
                <p:cNvGrpSpPr/>
                <p:nvPr/>
              </p:nvGrpSpPr>
              <p:grpSpPr>
                <a:xfrm>
                  <a:off x="1233687" y="1970224"/>
                  <a:ext cx="1912791" cy="1912496"/>
                  <a:chOff x="1233687" y="1970224"/>
                  <a:chExt cx="1912791" cy="1912496"/>
                </a:xfrm>
                <a:solidFill>
                  <a:srgbClr val="07636C"/>
                </a:solidFill>
              </p:grpSpPr>
              <p:sp>
                <p:nvSpPr>
                  <p:cNvPr id="50" name="Forme libre : forme 28">
                    <a:extLst>
                      <a:ext uri="{FF2B5EF4-FFF2-40B4-BE49-F238E27FC236}">
                        <a16:creationId xmlns:a16="http://schemas.microsoft.com/office/drawing/2014/main" id="{2FBA356F-92B9-DC72-1FDB-68C9C6E6533B}"/>
                      </a:ext>
                    </a:extLst>
                  </p:cNvPr>
                  <p:cNvSpPr/>
                  <p:nvPr/>
                </p:nvSpPr>
                <p:spPr>
                  <a:xfrm>
                    <a:off x="2129940" y="1970224"/>
                    <a:ext cx="120286" cy="120286"/>
                  </a:xfrm>
                  <a:custGeom>
                    <a:avLst/>
                    <a:gdLst>
                      <a:gd name="connsiteX0" fmla="*/ 60143 w 120286"/>
                      <a:gd name="connsiteY0" fmla="*/ 120286 h 120286"/>
                      <a:gd name="connsiteX1" fmla="*/ 0 w 120286"/>
                      <a:gd name="connsiteY1" fmla="*/ 60143 h 120286"/>
                      <a:gd name="connsiteX2" fmla="*/ 60143 w 120286"/>
                      <a:gd name="connsiteY2" fmla="*/ 0 h 120286"/>
                      <a:gd name="connsiteX3" fmla="*/ 120286 w 120286"/>
                      <a:gd name="connsiteY3" fmla="*/ 60143 h 120286"/>
                      <a:gd name="connsiteX4" fmla="*/ 60143 w 120286"/>
                      <a:gd name="connsiteY4" fmla="*/ 120286 h 1202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0286" h="120286">
                        <a:moveTo>
                          <a:pt x="60143" y="120286"/>
                        </a:moveTo>
                        <a:cubicBezTo>
                          <a:pt x="27123" y="120286"/>
                          <a:pt x="0" y="93163"/>
                          <a:pt x="0" y="60143"/>
                        </a:cubicBezTo>
                        <a:cubicBezTo>
                          <a:pt x="0" y="27123"/>
                          <a:pt x="27123" y="0"/>
                          <a:pt x="60143" y="0"/>
                        </a:cubicBezTo>
                        <a:cubicBezTo>
                          <a:pt x="93163" y="0"/>
                          <a:pt x="120286" y="27123"/>
                          <a:pt x="120286" y="60143"/>
                        </a:cubicBezTo>
                        <a:cubicBezTo>
                          <a:pt x="120286" y="93163"/>
                          <a:pt x="93163" y="120286"/>
                          <a:pt x="60143" y="120286"/>
                        </a:cubicBezTo>
                        <a:close/>
                      </a:path>
                    </a:pathLst>
                  </a:custGeom>
                  <a:solidFill>
                    <a:srgbClr val="07636C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  <p:sp>
                <p:nvSpPr>
                  <p:cNvPr id="51" name="Forme libre : forme 29">
                    <a:extLst>
                      <a:ext uri="{FF2B5EF4-FFF2-40B4-BE49-F238E27FC236}">
                        <a16:creationId xmlns:a16="http://schemas.microsoft.com/office/drawing/2014/main" id="{730BC10B-5049-960E-654F-2C19D1FABAD6}"/>
                      </a:ext>
                    </a:extLst>
                  </p:cNvPr>
                  <p:cNvSpPr/>
                  <p:nvPr/>
                </p:nvSpPr>
                <p:spPr>
                  <a:xfrm>
                    <a:off x="1233687" y="2866182"/>
                    <a:ext cx="120286" cy="120286"/>
                  </a:xfrm>
                  <a:custGeom>
                    <a:avLst/>
                    <a:gdLst>
                      <a:gd name="connsiteX0" fmla="*/ 60143 w 120286"/>
                      <a:gd name="connsiteY0" fmla="*/ 120286 h 120286"/>
                      <a:gd name="connsiteX1" fmla="*/ 0 w 120286"/>
                      <a:gd name="connsiteY1" fmla="*/ 60143 h 120286"/>
                      <a:gd name="connsiteX2" fmla="*/ 60143 w 120286"/>
                      <a:gd name="connsiteY2" fmla="*/ 0 h 120286"/>
                      <a:gd name="connsiteX3" fmla="*/ 120286 w 120286"/>
                      <a:gd name="connsiteY3" fmla="*/ 60143 h 120286"/>
                      <a:gd name="connsiteX4" fmla="*/ 60143 w 120286"/>
                      <a:gd name="connsiteY4" fmla="*/ 120286 h 1202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0286" h="120286">
                        <a:moveTo>
                          <a:pt x="60143" y="120286"/>
                        </a:moveTo>
                        <a:cubicBezTo>
                          <a:pt x="27123" y="120286"/>
                          <a:pt x="0" y="93163"/>
                          <a:pt x="0" y="60143"/>
                        </a:cubicBezTo>
                        <a:cubicBezTo>
                          <a:pt x="0" y="27123"/>
                          <a:pt x="27123" y="0"/>
                          <a:pt x="60143" y="0"/>
                        </a:cubicBezTo>
                        <a:cubicBezTo>
                          <a:pt x="93163" y="0"/>
                          <a:pt x="120286" y="27123"/>
                          <a:pt x="120286" y="60143"/>
                        </a:cubicBezTo>
                        <a:cubicBezTo>
                          <a:pt x="120286" y="93163"/>
                          <a:pt x="93458" y="120286"/>
                          <a:pt x="60143" y="120286"/>
                        </a:cubicBezTo>
                        <a:close/>
                      </a:path>
                    </a:pathLst>
                  </a:custGeom>
                  <a:solidFill>
                    <a:srgbClr val="07636C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  <p:sp>
                <p:nvSpPr>
                  <p:cNvPr id="52" name="Forme libre : forme 30">
                    <a:extLst>
                      <a:ext uri="{FF2B5EF4-FFF2-40B4-BE49-F238E27FC236}">
                        <a16:creationId xmlns:a16="http://schemas.microsoft.com/office/drawing/2014/main" id="{B165A535-E12F-F40B-3B4F-23ABA4F2FA97}"/>
                      </a:ext>
                    </a:extLst>
                  </p:cNvPr>
                  <p:cNvSpPr/>
                  <p:nvPr/>
                </p:nvSpPr>
                <p:spPr>
                  <a:xfrm>
                    <a:off x="2129940" y="3762434"/>
                    <a:ext cx="120286" cy="120286"/>
                  </a:xfrm>
                  <a:custGeom>
                    <a:avLst/>
                    <a:gdLst>
                      <a:gd name="connsiteX0" fmla="*/ 60143 w 120286"/>
                      <a:gd name="connsiteY0" fmla="*/ 120287 h 120286"/>
                      <a:gd name="connsiteX1" fmla="*/ 0 w 120286"/>
                      <a:gd name="connsiteY1" fmla="*/ 60143 h 120286"/>
                      <a:gd name="connsiteX2" fmla="*/ 60143 w 120286"/>
                      <a:gd name="connsiteY2" fmla="*/ 0 h 120286"/>
                      <a:gd name="connsiteX3" fmla="*/ 120286 w 120286"/>
                      <a:gd name="connsiteY3" fmla="*/ 60143 h 120286"/>
                      <a:gd name="connsiteX4" fmla="*/ 60143 w 120286"/>
                      <a:gd name="connsiteY4" fmla="*/ 120287 h 1202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0286" h="120286">
                        <a:moveTo>
                          <a:pt x="60143" y="120287"/>
                        </a:moveTo>
                        <a:cubicBezTo>
                          <a:pt x="27123" y="120287"/>
                          <a:pt x="0" y="93163"/>
                          <a:pt x="0" y="60143"/>
                        </a:cubicBezTo>
                        <a:cubicBezTo>
                          <a:pt x="0" y="27123"/>
                          <a:pt x="27123" y="0"/>
                          <a:pt x="60143" y="0"/>
                        </a:cubicBezTo>
                        <a:cubicBezTo>
                          <a:pt x="93163" y="0"/>
                          <a:pt x="120286" y="27123"/>
                          <a:pt x="120286" y="60143"/>
                        </a:cubicBezTo>
                        <a:cubicBezTo>
                          <a:pt x="120286" y="93458"/>
                          <a:pt x="93163" y="120287"/>
                          <a:pt x="60143" y="120287"/>
                        </a:cubicBezTo>
                        <a:close/>
                      </a:path>
                    </a:pathLst>
                  </a:custGeom>
                  <a:solidFill>
                    <a:srgbClr val="07636C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  <p:sp>
                <p:nvSpPr>
                  <p:cNvPr id="53" name="Forme libre : forme 31">
                    <a:extLst>
                      <a:ext uri="{FF2B5EF4-FFF2-40B4-BE49-F238E27FC236}">
                        <a16:creationId xmlns:a16="http://schemas.microsoft.com/office/drawing/2014/main" id="{18BD2E8E-E67E-4710-B293-063650B95285}"/>
                      </a:ext>
                    </a:extLst>
                  </p:cNvPr>
                  <p:cNvSpPr/>
                  <p:nvPr/>
                </p:nvSpPr>
                <p:spPr>
                  <a:xfrm>
                    <a:off x="3026192" y="2866182"/>
                    <a:ext cx="120286" cy="120286"/>
                  </a:xfrm>
                  <a:custGeom>
                    <a:avLst/>
                    <a:gdLst>
                      <a:gd name="connsiteX0" fmla="*/ 60143 w 120286"/>
                      <a:gd name="connsiteY0" fmla="*/ 120286 h 120286"/>
                      <a:gd name="connsiteX1" fmla="*/ 0 w 120286"/>
                      <a:gd name="connsiteY1" fmla="*/ 60143 h 120286"/>
                      <a:gd name="connsiteX2" fmla="*/ 60143 w 120286"/>
                      <a:gd name="connsiteY2" fmla="*/ 0 h 120286"/>
                      <a:gd name="connsiteX3" fmla="*/ 120286 w 120286"/>
                      <a:gd name="connsiteY3" fmla="*/ 60143 h 120286"/>
                      <a:gd name="connsiteX4" fmla="*/ 60143 w 120286"/>
                      <a:gd name="connsiteY4" fmla="*/ 120286 h 1202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0286" h="120286">
                        <a:moveTo>
                          <a:pt x="60143" y="120286"/>
                        </a:moveTo>
                        <a:cubicBezTo>
                          <a:pt x="27123" y="120286"/>
                          <a:pt x="0" y="93163"/>
                          <a:pt x="0" y="60143"/>
                        </a:cubicBezTo>
                        <a:cubicBezTo>
                          <a:pt x="0" y="27123"/>
                          <a:pt x="27123" y="0"/>
                          <a:pt x="60143" y="0"/>
                        </a:cubicBezTo>
                        <a:cubicBezTo>
                          <a:pt x="93163" y="0"/>
                          <a:pt x="120286" y="27123"/>
                          <a:pt x="120286" y="60143"/>
                        </a:cubicBezTo>
                        <a:cubicBezTo>
                          <a:pt x="120286" y="93163"/>
                          <a:pt x="93163" y="120286"/>
                          <a:pt x="60143" y="120286"/>
                        </a:cubicBezTo>
                        <a:close/>
                      </a:path>
                    </a:pathLst>
                  </a:custGeom>
                  <a:solidFill>
                    <a:srgbClr val="07636C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</p:grpSp>
            <p:grpSp>
              <p:nvGrpSpPr>
                <p:cNvPr id="39" name="Graphique 2">
                  <a:extLst>
                    <a:ext uri="{FF2B5EF4-FFF2-40B4-BE49-F238E27FC236}">
                      <a16:creationId xmlns:a16="http://schemas.microsoft.com/office/drawing/2014/main" id="{D86A66FD-6FEB-2129-AB2F-488A458F7411}"/>
                    </a:ext>
                  </a:extLst>
                </p:cNvPr>
                <p:cNvGrpSpPr/>
                <p:nvPr/>
              </p:nvGrpSpPr>
              <p:grpSpPr>
                <a:xfrm>
                  <a:off x="1371663" y="2108200"/>
                  <a:ext cx="1636545" cy="1636545"/>
                  <a:chOff x="1371663" y="2108200"/>
                  <a:chExt cx="1636545" cy="1636545"/>
                </a:xfrm>
                <a:solidFill>
                  <a:srgbClr val="0B9392"/>
                </a:solidFill>
              </p:grpSpPr>
              <p:sp>
                <p:nvSpPr>
                  <p:cNvPr id="40" name="Forme libre : forme 20">
                    <a:extLst>
                      <a:ext uri="{FF2B5EF4-FFF2-40B4-BE49-F238E27FC236}">
                        <a16:creationId xmlns:a16="http://schemas.microsoft.com/office/drawing/2014/main" id="{7F181A1D-0A40-BC76-2A53-B79F7885FF0E}"/>
                      </a:ext>
                    </a:extLst>
                  </p:cNvPr>
                  <p:cNvSpPr/>
                  <p:nvPr/>
                </p:nvSpPr>
                <p:spPr>
                  <a:xfrm>
                    <a:off x="1699797" y="2108200"/>
                    <a:ext cx="84318" cy="84318"/>
                  </a:xfrm>
                  <a:custGeom>
                    <a:avLst/>
                    <a:gdLst>
                      <a:gd name="connsiteX0" fmla="*/ 84318 w 84318"/>
                      <a:gd name="connsiteY0" fmla="*/ 42159 h 84318"/>
                      <a:gd name="connsiteX1" fmla="*/ 42159 w 84318"/>
                      <a:gd name="connsiteY1" fmla="*/ 84318 h 84318"/>
                      <a:gd name="connsiteX2" fmla="*/ 0 w 84318"/>
                      <a:gd name="connsiteY2" fmla="*/ 42159 h 84318"/>
                      <a:gd name="connsiteX3" fmla="*/ 42159 w 84318"/>
                      <a:gd name="connsiteY3" fmla="*/ 0 h 84318"/>
                      <a:gd name="connsiteX4" fmla="*/ 84318 w 84318"/>
                      <a:gd name="connsiteY4" fmla="*/ 42159 h 843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4318" h="84318">
                        <a:moveTo>
                          <a:pt x="84318" y="42159"/>
                        </a:moveTo>
                        <a:cubicBezTo>
                          <a:pt x="84318" y="65443"/>
                          <a:pt x="65443" y="84318"/>
                          <a:pt x="42159" y="84318"/>
                        </a:cubicBezTo>
                        <a:cubicBezTo>
                          <a:pt x="18875" y="84318"/>
                          <a:pt x="0" y="65443"/>
                          <a:pt x="0" y="42159"/>
                        </a:cubicBezTo>
                        <a:cubicBezTo>
                          <a:pt x="0" y="18875"/>
                          <a:pt x="18875" y="0"/>
                          <a:pt x="42159" y="0"/>
                        </a:cubicBezTo>
                        <a:cubicBezTo>
                          <a:pt x="65443" y="0"/>
                          <a:pt x="84318" y="18875"/>
                          <a:pt x="84318" y="42159"/>
                        </a:cubicBezTo>
                        <a:close/>
                      </a:path>
                    </a:pathLst>
                  </a:custGeom>
                  <a:solidFill>
                    <a:srgbClr val="0B9392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  <p:sp>
                <p:nvSpPr>
                  <p:cNvPr id="41" name="Forme libre : forme 21">
                    <a:extLst>
                      <a:ext uri="{FF2B5EF4-FFF2-40B4-BE49-F238E27FC236}">
                        <a16:creationId xmlns:a16="http://schemas.microsoft.com/office/drawing/2014/main" id="{443B4533-BCCB-A3F4-FBBD-F1AF05BD4D3E}"/>
                      </a:ext>
                    </a:extLst>
                  </p:cNvPr>
                  <p:cNvSpPr/>
                  <p:nvPr/>
                </p:nvSpPr>
                <p:spPr>
                  <a:xfrm>
                    <a:off x="1371663" y="2436334"/>
                    <a:ext cx="84318" cy="84318"/>
                  </a:xfrm>
                  <a:custGeom>
                    <a:avLst/>
                    <a:gdLst>
                      <a:gd name="connsiteX0" fmla="*/ 84319 w 84318"/>
                      <a:gd name="connsiteY0" fmla="*/ 42159 h 84318"/>
                      <a:gd name="connsiteX1" fmla="*/ 42159 w 84318"/>
                      <a:gd name="connsiteY1" fmla="*/ 84318 h 84318"/>
                      <a:gd name="connsiteX2" fmla="*/ 0 w 84318"/>
                      <a:gd name="connsiteY2" fmla="*/ 42159 h 84318"/>
                      <a:gd name="connsiteX3" fmla="*/ 42159 w 84318"/>
                      <a:gd name="connsiteY3" fmla="*/ 0 h 84318"/>
                      <a:gd name="connsiteX4" fmla="*/ 84319 w 84318"/>
                      <a:gd name="connsiteY4" fmla="*/ 42159 h 843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4318" h="84318">
                        <a:moveTo>
                          <a:pt x="84319" y="42159"/>
                        </a:moveTo>
                        <a:cubicBezTo>
                          <a:pt x="84319" y="65443"/>
                          <a:pt x="65443" y="84318"/>
                          <a:pt x="42159" y="84318"/>
                        </a:cubicBezTo>
                        <a:cubicBezTo>
                          <a:pt x="18875" y="84318"/>
                          <a:pt x="0" y="65443"/>
                          <a:pt x="0" y="42159"/>
                        </a:cubicBezTo>
                        <a:cubicBezTo>
                          <a:pt x="0" y="18875"/>
                          <a:pt x="18875" y="0"/>
                          <a:pt x="42159" y="0"/>
                        </a:cubicBezTo>
                        <a:cubicBezTo>
                          <a:pt x="65443" y="0"/>
                          <a:pt x="84319" y="18875"/>
                          <a:pt x="84319" y="42159"/>
                        </a:cubicBezTo>
                        <a:close/>
                      </a:path>
                    </a:pathLst>
                  </a:custGeom>
                  <a:solidFill>
                    <a:srgbClr val="0B9392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  <p:sp>
                <p:nvSpPr>
                  <p:cNvPr id="42" name="Forme libre : forme 22">
                    <a:extLst>
                      <a:ext uri="{FF2B5EF4-FFF2-40B4-BE49-F238E27FC236}">
                        <a16:creationId xmlns:a16="http://schemas.microsoft.com/office/drawing/2014/main" id="{E60F36E4-BAA3-7637-FC04-0AD347B43253}"/>
                      </a:ext>
                    </a:extLst>
                  </p:cNvPr>
                  <p:cNvSpPr/>
                  <p:nvPr/>
                </p:nvSpPr>
                <p:spPr>
                  <a:xfrm>
                    <a:off x="1371663" y="3332292"/>
                    <a:ext cx="84318" cy="84318"/>
                  </a:xfrm>
                  <a:custGeom>
                    <a:avLst/>
                    <a:gdLst>
                      <a:gd name="connsiteX0" fmla="*/ 84319 w 84318"/>
                      <a:gd name="connsiteY0" fmla="*/ 42159 h 84318"/>
                      <a:gd name="connsiteX1" fmla="*/ 42159 w 84318"/>
                      <a:gd name="connsiteY1" fmla="*/ 84319 h 84318"/>
                      <a:gd name="connsiteX2" fmla="*/ 0 w 84318"/>
                      <a:gd name="connsiteY2" fmla="*/ 42159 h 84318"/>
                      <a:gd name="connsiteX3" fmla="*/ 42159 w 84318"/>
                      <a:gd name="connsiteY3" fmla="*/ 0 h 84318"/>
                      <a:gd name="connsiteX4" fmla="*/ 84319 w 84318"/>
                      <a:gd name="connsiteY4" fmla="*/ 42159 h 843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4318" h="84318">
                        <a:moveTo>
                          <a:pt x="84319" y="42159"/>
                        </a:moveTo>
                        <a:cubicBezTo>
                          <a:pt x="84319" y="65443"/>
                          <a:pt x="65443" y="84319"/>
                          <a:pt x="42159" y="84319"/>
                        </a:cubicBezTo>
                        <a:cubicBezTo>
                          <a:pt x="18875" y="84319"/>
                          <a:pt x="0" y="65443"/>
                          <a:pt x="0" y="42159"/>
                        </a:cubicBezTo>
                        <a:cubicBezTo>
                          <a:pt x="0" y="18876"/>
                          <a:pt x="18875" y="0"/>
                          <a:pt x="42159" y="0"/>
                        </a:cubicBezTo>
                        <a:cubicBezTo>
                          <a:pt x="65443" y="0"/>
                          <a:pt x="84319" y="18876"/>
                          <a:pt x="84319" y="42159"/>
                        </a:cubicBezTo>
                        <a:close/>
                      </a:path>
                    </a:pathLst>
                  </a:custGeom>
                  <a:solidFill>
                    <a:srgbClr val="0B9392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  <p:sp>
                <p:nvSpPr>
                  <p:cNvPr id="43" name="Forme libre : forme 23">
                    <a:extLst>
                      <a:ext uri="{FF2B5EF4-FFF2-40B4-BE49-F238E27FC236}">
                        <a16:creationId xmlns:a16="http://schemas.microsoft.com/office/drawing/2014/main" id="{5C9085DE-CB96-4EDE-24CB-BE543EF168C1}"/>
                      </a:ext>
                    </a:extLst>
                  </p:cNvPr>
                  <p:cNvSpPr/>
                  <p:nvPr/>
                </p:nvSpPr>
                <p:spPr>
                  <a:xfrm>
                    <a:off x="1699797" y="3660426"/>
                    <a:ext cx="84318" cy="84318"/>
                  </a:xfrm>
                  <a:custGeom>
                    <a:avLst/>
                    <a:gdLst>
                      <a:gd name="connsiteX0" fmla="*/ 84318 w 84318"/>
                      <a:gd name="connsiteY0" fmla="*/ 42159 h 84318"/>
                      <a:gd name="connsiteX1" fmla="*/ 42159 w 84318"/>
                      <a:gd name="connsiteY1" fmla="*/ 84319 h 84318"/>
                      <a:gd name="connsiteX2" fmla="*/ 0 w 84318"/>
                      <a:gd name="connsiteY2" fmla="*/ 42159 h 84318"/>
                      <a:gd name="connsiteX3" fmla="*/ 42159 w 84318"/>
                      <a:gd name="connsiteY3" fmla="*/ 0 h 84318"/>
                      <a:gd name="connsiteX4" fmla="*/ 84318 w 84318"/>
                      <a:gd name="connsiteY4" fmla="*/ 42159 h 843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4318" h="84318">
                        <a:moveTo>
                          <a:pt x="84318" y="42159"/>
                        </a:moveTo>
                        <a:cubicBezTo>
                          <a:pt x="84318" y="65443"/>
                          <a:pt x="65443" y="84319"/>
                          <a:pt x="42159" y="84319"/>
                        </a:cubicBezTo>
                        <a:cubicBezTo>
                          <a:pt x="18875" y="84319"/>
                          <a:pt x="0" y="65443"/>
                          <a:pt x="0" y="42159"/>
                        </a:cubicBezTo>
                        <a:cubicBezTo>
                          <a:pt x="0" y="18875"/>
                          <a:pt x="18875" y="0"/>
                          <a:pt x="42159" y="0"/>
                        </a:cubicBezTo>
                        <a:cubicBezTo>
                          <a:pt x="65443" y="0"/>
                          <a:pt x="84318" y="18875"/>
                          <a:pt x="84318" y="42159"/>
                        </a:cubicBezTo>
                        <a:close/>
                      </a:path>
                    </a:pathLst>
                  </a:custGeom>
                  <a:solidFill>
                    <a:srgbClr val="0B9392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  <p:sp>
                <p:nvSpPr>
                  <p:cNvPr id="46" name="Forme libre : forme 24">
                    <a:extLst>
                      <a:ext uri="{FF2B5EF4-FFF2-40B4-BE49-F238E27FC236}">
                        <a16:creationId xmlns:a16="http://schemas.microsoft.com/office/drawing/2014/main" id="{2A3CB3D8-FEFD-EC06-669E-08652007DD77}"/>
                      </a:ext>
                    </a:extLst>
                  </p:cNvPr>
                  <p:cNvSpPr/>
                  <p:nvPr/>
                </p:nvSpPr>
                <p:spPr>
                  <a:xfrm>
                    <a:off x="2596050" y="3660426"/>
                    <a:ext cx="84318" cy="84318"/>
                  </a:xfrm>
                  <a:custGeom>
                    <a:avLst/>
                    <a:gdLst>
                      <a:gd name="connsiteX0" fmla="*/ 84319 w 84318"/>
                      <a:gd name="connsiteY0" fmla="*/ 42159 h 84318"/>
                      <a:gd name="connsiteX1" fmla="*/ 42159 w 84318"/>
                      <a:gd name="connsiteY1" fmla="*/ 84319 h 84318"/>
                      <a:gd name="connsiteX2" fmla="*/ 0 w 84318"/>
                      <a:gd name="connsiteY2" fmla="*/ 42159 h 84318"/>
                      <a:gd name="connsiteX3" fmla="*/ 42159 w 84318"/>
                      <a:gd name="connsiteY3" fmla="*/ 0 h 84318"/>
                      <a:gd name="connsiteX4" fmla="*/ 84319 w 84318"/>
                      <a:gd name="connsiteY4" fmla="*/ 42159 h 843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4318" h="84318">
                        <a:moveTo>
                          <a:pt x="84319" y="42159"/>
                        </a:moveTo>
                        <a:cubicBezTo>
                          <a:pt x="84319" y="65443"/>
                          <a:pt x="65443" y="84319"/>
                          <a:pt x="42159" y="84319"/>
                        </a:cubicBezTo>
                        <a:cubicBezTo>
                          <a:pt x="18875" y="84319"/>
                          <a:pt x="0" y="65443"/>
                          <a:pt x="0" y="42159"/>
                        </a:cubicBezTo>
                        <a:cubicBezTo>
                          <a:pt x="0" y="18875"/>
                          <a:pt x="18875" y="0"/>
                          <a:pt x="42159" y="0"/>
                        </a:cubicBezTo>
                        <a:cubicBezTo>
                          <a:pt x="65443" y="0"/>
                          <a:pt x="84319" y="18875"/>
                          <a:pt x="84319" y="42159"/>
                        </a:cubicBezTo>
                        <a:close/>
                      </a:path>
                    </a:pathLst>
                  </a:custGeom>
                  <a:solidFill>
                    <a:srgbClr val="0B9392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  <p:sp>
                <p:nvSpPr>
                  <p:cNvPr id="47" name="Forme libre : forme 25">
                    <a:extLst>
                      <a:ext uri="{FF2B5EF4-FFF2-40B4-BE49-F238E27FC236}">
                        <a16:creationId xmlns:a16="http://schemas.microsoft.com/office/drawing/2014/main" id="{07573C03-67E5-6E51-2BFF-25D83E463DD4}"/>
                      </a:ext>
                    </a:extLst>
                  </p:cNvPr>
                  <p:cNvSpPr/>
                  <p:nvPr/>
                </p:nvSpPr>
                <p:spPr>
                  <a:xfrm>
                    <a:off x="2923890" y="3332292"/>
                    <a:ext cx="84318" cy="84318"/>
                  </a:xfrm>
                  <a:custGeom>
                    <a:avLst/>
                    <a:gdLst>
                      <a:gd name="connsiteX0" fmla="*/ 84319 w 84318"/>
                      <a:gd name="connsiteY0" fmla="*/ 42159 h 84318"/>
                      <a:gd name="connsiteX1" fmla="*/ 42159 w 84318"/>
                      <a:gd name="connsiteY1" fmla="*/ 84319 h 84318"/>
                      <a:gd name="connsiteX2" fmla="*/ 0 w 84318"/>
                      <a:gd name="connsiteY2" fmla="*/ 42159 h 84318"/>
                      <a:gd name="connsiteX3" fmla="*/ 42159 w 84318"/>
                      <a:gd name="connsiteY3" fmla="*/ 0 h 84318"/>
                      <a:gd name="connsiteX4" fmla="*/ 84319 w 84318"/>
                      <a:gd name="connsiteY4" fmla="*/ 42159 h 843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4318" h="84318">
                        <a:moveTo>
                          <a:pt x="84319" y="42159"/>
                        </a:moveTo>
                        <a:cubicBezTo>
                          <a:pt x="84319" y="65443"/>
                          <a:pt x="65443" y="84319"/>
                          <a:pt x="42159" y="84319"/>
                        </a:cubicBezTo>
                        <a:cubicBezTo>
                          <a:pt x="18876" y="84319"/>
                          <a:pt x="0" y="65443"/>
                          <a:pt x="0" y="42159"/>
                        </a:cubicBezTo>
                        <a:cubicBezTo>
                          <a:pt x="0" y="18876"/>
                          <a:pt x="18876" y="0"/>
                          <a:pt x="42159" y="0"/>
                        </a:cubicBezTo>
                        <a:cubicBezTo>
                          <a:pt x="65443" y="0"/>
                          <a:pt x="84319" y="18876"/>
                          <a:pt x="84319" y="42159"/>
                        </a:cubicBezTo>
                        <a:close/>
                      </a:path>
                    </a:pathLst>
                  </a:custGeom>
                  <a:solidFill>
                    <a:srgbClr val="0B9392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  <p:sp>
                <p:nvSpPr>
                  <p:cNvPr id="48" name="Forme libre : forme 26">
                    <a:extLst>
                      <a:ext uri="{FF2B5EF4-FFF2-40B4-BE49-F238E27FC236}">
                        <a16:creationId xmlns:a16="http://schemas.microsoft.com/office/drawing/2014/main" id="{0B7FA1A8-6510-68E1-E100-4F8552643DE2}"/>
                      </a:ext>
                    </a:extLst>
                  </p:cNvPr>
                  <p:cNvSpPr/>
                  <p:nvPr/>
                </p:nvSpPr>
                <p:spPr>
                  <a:xfrm>
                    <a:off x="2923890" y="2436334"/>
                    <a:ext cx="84318" cy="84318"/>
                  </a:xfrm>
                  <a:custGeom>
                    <a:avLst/>
                    <a:gdLst>
                      <a:gd name="connsiteX0" fmla="*/ 84319 w 84318"/>
                      <a:gd name="connsiteY0" fmla="*/ 42159 h 84318"/>
                      <a:gd name="connsiteX1" fmla="*/ 42159 w 84318"/>
                      <a:gd name="connsiteY1" fmla="*/ 84318 h 84318"/>
                      <a:gd name="connsiteX2" fmla="*/ 0 w 84318"/>
                      <a:gd name="connsiteY2" fmla="*/ 42159 h 84318"/>
                      <a:gd name="connsiteX3" fmla="*/ 42159 w 84318"/>
                      <a:gd name="connsiteY3" fmla="*/ 0 h 84318"/>
                      <a:gd name="connsiteX4" fmla="*/ 84319 w 84318"/>
                      <a:gd name="connsiteY4" fmla="*/ 42159 h 843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4318" h="84318">
                        <a:moveTo>
                          <a:pt x="84319" y="42159"/>
                        </a:moveTo>
                        <a:cubicBezTo>
                          <a:pt x="84319" y="65443"/>
                          <a:pt x="65443" y="84318"/>
                          <a:pt x="42159" y="84318"/>
                        </a:cubicBezTo>
                        <a:cubicBezTo>
                          <a:pt x="18876" y="84318"/>
                          <a:pt x="0" y="65443"/>
                          <a:pt x="0" y="42159"/>
                        </a:cubicBezTo>
                        <a:cubicBezTo>
                          <a:pt x="0" y="18875"/>
                          <a:pt x="18876" y="0"/>
                          <a:pt x="42159" y="0"/>
                        </a:cubicBezTo>
                        <a:cubicBezTo>
                          <a:pt x="65443" y="0"/>
                          <a:pt x="84319" y="18875"/>
                          <a:pt x="84319" y="42159"/>
                        </a:cubicBezTo>
                        <a:close/>
                      </a:path>
                    </a:pathLst>
                  </a:custGeom>
                  <a:solidFill>
                    <a:srgbClr val="0B9392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  <p:sp>
                <p:nvSpPr>
                  <p:cNvPr id="49" name="Forme libre : forme 27">
                    <a:extLst>
                      <a:ext uri="{FF2B5EF4-FFF2-40B4-BE49-F238E27FC236}">
                        <a16:creationId xmlns:a16="http://schemas.microsoft.com/office/drawing/2014/main" id="{524C67A8-6B12-4119-A6C6-299853CEFE04}"/>
                      </a:ext>
                    </a:extLst>
                  </p:cNvPr>
                  <p:cNvSpPr/>
                  <p:nvPr/>
                </p:nvSpPr>
                <p:spPr>
                  <a:xfrm>
                    <a:off x="2596050" y="2108200"/>
                    <a:ext cx="84318" cy="84318"/>
                  </a:xfrm>
                  <a:custGeom>
                    <a:avLst/>
                    <a:gdLst>
                      <a:gd name="connsiteX0" fmla="*/ 84319 w 84318"/>
                      <a:gd name="connsiteY0" fmla="*/ 42159 h 84318"/>
                      <a:gd name="connsiteX1" fmla="*/ 42159 w 84318"/>
                      <a:gd name="connsiteY1" fmla="*/ 84318 h 84318"/>
                      <a:gd name="connsiteX2" fmla="*/ 0 w 84318"/>
                      <a:gd name="connsiteY2" fmla="*/ 42159 h 84318"/>
                      <a:gd name="connsiteX3" fmla="*/ 42159 w 84318"/>
                      <a:gd name="connsiteY3" fmla="*/ 0 h 84318"/>
                      <a:gd name="connsiteX4" fmla="*/ 84319 w 84318"/>
                      <a:gd name="connsiteY4" fmla="*/ 42159 h 843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4318" h="84318">
                        <a:moveTo>
                          <a:pt x="84319" y="42159"/>
                        </a:moveTo>
                        <a:cubicBezTo>
                          <a:pt x="84319" y="65443"/>
                          <a:pt x="65443" y="84318"/>
                          <a:pt x="42159" y="84318"/>
                        </a:cubicBezTo>
                        <a:cubicBezTo>
                          <a:pt x="18875" y="84318"/>
                          <a:pt x="0" y="65443"/>
                          <a:pt x="0" y="42159"/>
                        </a:cubicBezTo>
                        <a:cubicBezTo>
                          <a:pt x="0" y="18875"/>
                          <a:pt x="18875" y="0"/>
                          <a:pt x="42159" y="0"/>
                        </a:cubicBezTo>
                        <a:cubicBezTo>
                          <a:pt x="65443" y="0"/>
                          <a:pt x="84319" y="18875"/>
                          <a:pt x="84319" y="42159"/>
                        </a:cubicBezTo>
                        <a:close/>
                      </a:path>
                    </a:pathLst>
                  </a:custGeom>
                  <a:solidFill>
                    <a:srgbClr val="0B9392"/>
                  </a:solidFill>
                  <a:ln w="2946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FR"/>
                  </a:p>
                </p:txBody>
              </p:sp>
            </p:grpSp>
          </p:grpSp>
          <p:sp>
            <p:nvSpPr>
              <p:cNvPr id="28" name="ZoneTexte 9">
                <a:extLst>
                  <a:ext uri="{FF2B5EF4-FFF2-40B4-BE49-F238E27FC236}">
                    <a16:creationId xmlns:a16="http://schemas.microsoft.com/office/drawing/2014/main" id="{87394DC1-2921-835A-D578-BB4DBC81803F}"/>
                  </a:ext>
                </a:extLst>
              </p:cNvPr>
              <p:cNvSpPr txBox="1"/>
              <p:nvPr/>
            </p:nvSpPr>
            <p:spPr>
              <a:xfrm>
                <a:off x="1349516" y="2029815"/>
                <a:ext cx="406114" cy="28271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rtl="1"/>
                <a:r>
                  <a:rPr lang="ar-MA" sz="2000" b="1" dirty="0">
                    <a:solidFill>
                      <a:srgbClr val="005664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Microsoft Uighur" panose="02000000000000000000" pitchFamily="2" charset="-78"/>
                    <a:cs typeface="Microsoft Uighur" panose="02000000000000000000" pitchFamily="2" charset="-78"/>
                  </a:rPr>
                  <a:t>55</a:t>
                </a:r>
                <a:endParaRPr lang="fr-MA" sz="2000" b="1" dirty="0">
                  <a:solidFill>
                    <a:srgbClr val="005664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Microsoft Uighur" panose="02000000000000000000" pitchFamily="2" charset="-78"/>
                  <a:cs typeface="Microsoft Uighur" panose="02000000000000000000" pitchFamily="2" charset="-78"/>
                </a:endParaRPr>
              </a:p>
            </p:txBody>
          </p:sp>
          <p:sp>
            <p:nvSpPr>
              <p:cNvPr id="29" name="ZoneTexte 10">
                <a:extLst>
                  <a:ext uri="{FF2B5EF4-FFF2-40B4-BE49-F238E27FC236}">
                    <a16:creationId xmlns:a16="http://schemas.microsoft.com/office/drawing/2014/main" id="{CE79DBD5-C68D-8749-8453-DA192B457F07}"/>
                  </a:ext>
                </a:extLst>
              </p:cNvPr>
              <p:cNvSpPr txBox="1"/>
              <p:nvPr/>
            </p:nvSpPr>
            <p:spPr>
              <a:xfrm>
                <a:off x="1240960" y="2305858"/>
                <a:ext cx="625769" cy="3262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rtl="1"/>
                <a:r>
                  <a:rPr lang="ar-MA" sz="2400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دقيقة</a:t>
                </a:r>
                <a:endParaRPr lang="fr-MA" sz="24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2276623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A03BE67-F330-F13A-E815-894B0D2E74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6E53B969-F2A3-AFF2-ECD3-BB5A466320FC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3F443CDC-7397-BE58-6D6D-1220C76739F3}"/>
              </a:ext>
            </a:extLst>
          </p:cNvPr>
          <p:cNvSpPr txBox="1"/>
          <p:nvPr/>
        </p:nvSpPr>
        <p:spPr>
          <a:xfrm>
            <a:off x="2386049" y="539388"/>
            <a:ext cx="6026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قلوا النتيجة على الألواح.</a:t>
            </a:r>
            <a:endParaRPr lang="fr-FR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82C499ED-D2CA-C3A9-03EC-625E10C533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09911" y="2169000"/>
            <a:ext cx="3924179" cy="2520000"/>
          </a:xfrm>
          <a:prstGeom prst="rect">
            <a:avLst/>
          </a:prstGeom>
        </p:spPr>
      </p:pic>
      <p:pic>
        <p:nvPicPr>
          <p:cNvPr id="6" name="Picture 9">
            <a:extLst>
              <a:ext uri="{FF2B5EF4-FFF2-40B4-BE49-F238E27FC236}">
                <a16:creationId xmlns:a16="http://schemas.microsoft.com/office/drawing/2014/main" id="{BE79DD79-937F-1CF5-93F7-6BAD369C1CB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1025" t="14561" r="11389" b="14089"/>
          <a:stretch/>
        </p:blipFill>
        <p:spPr>
          <a:xfrm>
            <a:off x="395536" y="540000"/>
            <a:ext cx="908902" cy="646331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2347170905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D91E931-8E52-3210-6C82-79C78A2B37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A4515FC0-A034-26CD-C8AD-813E46230D7D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874F994B-5A59-2ACE-97DE-E5A3C8785B0D}"/>
              </a:ext>
            </a:extLst>
          </p:cNvPr>
          <p:cNvSpPr txBox="1"/>
          <p:nvPr/>
        </p:nvSpPr>
        <p:spPr>
          <a:xfrm>
            <a:off x="2386049" y="539388"/>
            <a:ext cx="6026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رفعوا الألواح.</a:t>
            </a:r>
            <a:endParaRPr lang="fr-FR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5B8AB7B1-2577-ADFF-94ED-53CA8D7E5E5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025" t="14561" r="11389" b="14089"/>
          <a:stretch/>
        </p:blipFill>
        <p:spPr>
          <a:xfrm>
            <a:off x="395536" y="540000"/>
            <a:ext cx="908902" cy="646331"/>
          </a:xfrm>
          <a:prstGeom prst="round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CE861D55-D544-FAA0-9A80-4D9792208A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13696" y="2169000"/>
            <a:ext cx="3768019" cy="2700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42124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C806556-497F-EABF-C6BB-FC6B3A6F6A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BDE6C08C-18B2-78FC-F682-B4F3EE8478CF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7F10ED17-27B2-B3B4-AD85-02A9156F2B18}"/>
              </a:ext>
            </a:extLst>
          </p:cNvPr>
          <p:cNvSpPr txBox="1"/>
          <p:nvPr/>
        </p:nvSpPr>
        <p:spPr>
          <a:xfrm>
            <a:off x="2386049" y="539388"/>
            <a:ext cx="60261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سأختار أحد  التلاميذ ليقوم إلى السبورة ويشرح لنا كيف قام بذلك.</a:t>
            </a:r>
          </a:p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نصحح. العدد 4 هو كذلك 3 و1.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3D9B680-6EF9-2DB8-4723-C5CE6590C5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140" y="361770"/>
            <a:ext cx="1569466" cy="1119692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5E370270-4109-BF38-C65E-626BF19178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9140" y="2555378"/>
            <a:ext cx="8460564" cy="2253951"/>
          </a:xfrm>
          <a:prstGeom prst="rect">
            <a:avLst/>
          </a:prstGeom>
        </p:spPr>
      </p:pic>
      <p:sp>
        <p:nvSpPr>
          <p:cNvPr id="6" name="Rectangle : coins arrondis 5">
            <a:extLst>
              <a:ext uri="{FF2B5EF4-FFF2-40B4-BE49-F238E27FC236}">
                <a16:creationId xmlns:a16="http://schemas.microsoft.com/office/drawing/2014/main" id="{B1B1BEAA-1F5D-3A27-1957-9B5BFEC9DEAF}"/>
              </a:ext>
            </a:extLst>
          </p:cNvPr>
          <p:cNvSpPr/>
          <p:nvPr/>
        </p:nvSpPr>
        <p:spPr>
          <a:xfrm>
            <a:off x="6383648" y="2893988"/>
            <a:ext cx="1512168" cy="1889148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53A074FC-0FAC-554E-C697-42BF36732446}"/>
              </a:ext>
            </a:extLst>
          </p:cNvPr>
          <p:cNvSpPr txBox="1"/>
          <p:nvPr/>
        </p:nvSpPr>
        <p:spPr>
          <a:xfrm>
            <a:off x="1257275" y="3848394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1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47F34854-1C3D-D6D9-F8FF-2BFAFD674C5D}"/>
              </a:ext>
            </a:extLst>
          </p:cNvPr>
          <p:cNvSpPr txBox="1"/>
          <p:nvPr/>
        </p:nvSpPr>
        <p:spPr>
          <a:xfrm>
            <a:off x="2004268" y="3838562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3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6A1866D3-6831-4B5B-3B29-BB6AF96A93AE}"/>
              </a:ext>
            </a:extLst>
          </p:cNvPr>
          <p:cNvSpPr txBox="1"/>
          <p:nvPr/>
        </p:nvSpPr>
        <p:spPr>
          <a:xfrm>
            <a:off x="4018119" y="3858226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C8902E51-8631-1570-16C7-84FC7CACDA4B}"/>
              </a:ext>
            </a:extLst>
          </p:cNvPr>
          <p:cNvSpPr txBox="1"/>
          <p:nvPr/>
        </p:nvSpPr>
        <p:spPr>
          <a:xfrm>
            <a:off x="4740841" y="3858226"/>
            <a:ext cx="385042" cy="523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D4B4A0D8-9ABD-A75F-5800-D4037963FE7D}"/>
              </a:ext>
            </a:extLst>
          </p:cNvPr>
          <p:cNvSpPr txBox="1"/>
          <p:nvPr/>
        </p:nvSpPr>
        <p:spPr>
          <a:xfrm>
            <a:off x="6646391" y="3858226"/>
            <a:ext cx="385042" cy="523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fr-FR" sz="28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DE4777B0-6F4E-F2EE-0F52-D14616C449A9}"/>
              </a:ext>
            </a:extLst>
          </p:cNvPr>
          <p:cNvSpPr txBox="1"/>
          <p:nvPr/>
        </p:nvSpPr>
        <p:spPr>
          <a:xfrm>
            <a:off x="7351196" y="3874148"/>
            <a:ext cx="385042" cy="523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fr-FR" sz="28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88641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E01862F-077E-8DA7-58AD-5EBEF6828D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AE287EF2-52B4-E9E1-BCDB-9DC523722FB5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F55F50E3-ECFE-08BC-9278-CB5EFAAD8ECF}"/>
              </a:ext>
            </a:extLst>
          </p:cNvPr>
          <p:cNvSpPr txBox="1"/>
          <p:nvPr/>
        </p:nvSpPr>
        <p:spPr>
          <a:xfrm>
            <a:off x="304801" y="529064"/>
            <a:ext cx="8092279" cy="37965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تبهوا. سأقوم بتفكيك للعدد 5.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32BD195D-E779-737D-C2C7-54145BACFB9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4801" y="507225"/>
            <a:ext cx="1095835" cy="1209831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273B9B7D-4128-D15E-FF1E-6B74C17ED41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5033" y="2555378"/>
            <a:ext cx="8473933" cy="2253951"/>
          </a:xfrm>
          <a:prstGeom prst="rect">
            <a:avLst/>
          </a:prstGeom>
        </p:spPr>
      </p:pic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84B33AB1-A750-E897-C680-B5667D5B76D2}"/>
              </a:ext>
            </a:extLst>
          </p:cNvPr>
          <p:cNvSpPr/>
          <p:nvPr/>
        </p:nvSpPr>
        <p:spPr>
          <a:xfrm>
            <a:off x="561502" y="2874307"/>
            <a:ext cx="1512168" cy="1889148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Flèche : bas 9">
            <a:extLst>
              <a:ext uri="{FF2B5EF4-FFF2-40B4-BE49-F238E27FC236}">
                <a16:creationId xmlns:a16="http://schemas.microsoft.com/office/drawing/2014/main" id="{9FDC0214-FE86-0AE8-11DE-F6B1DC3B6C31}"/>
              </a:ext>
            </a:extLst>
          </p:cNvPr>
          <p:cNvSpPr/>
          <p:nvPr/>
        </p:nvSpPr>
        <p:spPr>
          <a:xfrm>
            <a:off x="986900" y="2159097"/>
            <a:ext cx="504056" cy="649074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26058488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6AA913B-C10A-D20D-61D0-FB43E701E7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8EA93766-F83E-922B-6FFA-C89B0F419476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9CF7C7AF-B597-7412-A6F1-E3579135CDA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4801" y="507225"/>
            <a:ext cx="1095835" cy="1209831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A0C9120F-4AC7-C1BE-92E6-667509D8DDB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5033" y="2555378"/>
            <a:ext cx="8473933" cy="2253951"/>
          </a:xfrm>
          <a:prstGeom prst="rect">
            <a:avLst/>
          </a:prstGeom>
        </p:spPr>
      </p:pic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DC4608CD-BC52-8667-FAEF-7D596B331220}"/>
              </a:ext>
            </a:extLst>
          </p:cNvPr>
          <p:cNvSpPr/>
          <p:nvPr/>
        </p:nvSpPr>
        <p:spPr>
          <a:xfrm>
            <a:off x="561502" y="2874307"/>
            <a:ext cx="1512168" cy="1889148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1EEA099-FEBA-D831-FB93-80772E88C11C}"/>
              </a:ext>
            </a:extLst>
          </p:cNvPr>
          <p:cNvSpPr txBox="1"/>
          <p:nvPr/>
        </p:nvSpPr>
        <p:spPr>
          <a:xfrm>
            <a:off x="304801" y="465809"/>
            <a:ext cx="80922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مكن تفكيك العدد 5 إلى 1 و4. نكتب 1 في الدائرة الحمراء و4 في الدائرة الزرقاء.</a:t>
            </a:r>
          </a:p>
          <a:p>
            <a:pPr algn="r" rtl="1"/>
            <a:r>
              <a:rPr lang="ar-MA" i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مكن أن يستعين الأستاذ بالمكعبات لنمذجة التفكيك.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22D845B5-C873-B6EE-A6CD-66B74DA99394}"/>
              </a:ext>
            </a:extLst>
          </p:cNvPr>
          <p:cNvSpPr txBox="1"/>
          <p:nvPr/>
        </p:nvSpPr>
        <p:spPr>
          <a:xfrm>
            <a:off x="785326" y="3903786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1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EB851511-60CA-98DA-7FD7-82EF109F4EF2}"/>
              </a:ext>
            </a:extLst>
          </p:cNvPr>
          <p:cNvSpPr txBox="1"/>
          <p:nvPr/>
        </p:nvSpPr>
        <p:spPr>
          <a:xfrm>
            <a:off x="1502823" y="3893954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4</a:t>
            </a:r>
            <a:endParaRPr lang="fr-FR" sz="28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12766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E3B9B40-5AB7-F667-7CD7-0215ACCE9A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72BDAF55-7F64-4DA4-CC6E-E0A5E5AF0FE8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8F18B1F8-1962-737C-D977-235C72F48D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8706" y="529064"/>
            <a:ext cx="1440305" cy="1234547"/>
          </a:xfrm>
          <a:prstGeom prst="rect">
            <a:avLst/>
          </a:prstGeom>
        </p:spPr>
      </p:pic>
      <p:sp>
        <p:nvSpPr>
          <p:cNvPr id="7" name="ZoneTexte 4">
            <a:extLst>
              <a:ext uri="{FF2B5EF4-FFF2-40B4-BE49-F238E27FC236}">
                <a16:creationId xmlns:a16="http://schemas.microsoft.com/office/drawing/2014/main" id="{DC46162C-B6B0-C4AD-11F3-83F6C997B985}"/>
              </a:ext>
            </a:extLst>
          </p:cNvPr>
          <p:cNvSpPr txBox="1"/>
          <p:nvPr/>
        </p:nvSpPr>
        <p:spPr>
          <a:xfrm>
            <a:off x="304801" y="539388"/>
            <a:ext cx="80922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نبغي أن نتذكر تفكيك العدد 5.  العدد 5 هو ... و... ؟</a:t>
            </a:r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81D9CFEC-53FE-D643-75CF-8C1081BA9BF6}"/>
              </a:ext>
            </a:extLst>
          </p:cNvPr>
          <p:cNvGrpSpPr/>
          <p:nvPr/>
        </p:nvGrpSpPr>
        <p:grpSpPr>
          <a:xfrm>
            <a:off x="3451124" y="2337621"/>
            <a:ext cx="2393281" cy="2114697"/>
            <a:chOff x="6352673" y="2371651"/>
            <a:chExt cx="2393281" cy="2114697"/>
          </a:xfrm>
        </p:grpSpPr>
        <p:pic>
          <p:nvPicPr>
            <p:cNvPr id="3" name="Image 2">
              <a:extLst>
                <a:ext uri="{FF2B5EF4-FFF2-40B4-BE49-F238E27FC236}">
                  <a16:creationId xmlns:a16="http://schemas.microsoft.com/office/drawing/2014/main" id="{FE1EC93B-A4CD-CCFD-396E-6BA7909C6F3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352673" y="2371651"/>
              <a:ext cx="2393281" cy="2114697"/>
            </a:xfrm>
            <a:prstGeom prst="rect">
              <a:avLst/>
            </a:prstGeom>
          </p:spPr>
        </p:pic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id="{3C24CE75-167D-00AA-46E2-3D2BC40FDBAF}"/>
                </a:ext>
              </a:extLst>
            </p:cNvPr>
            <p:cNvSpPr txBox="1"/>
            <p:nvPr/>
          </p:nvSpPr>
          <p:spPr>
            <a:xfrm>
              <a:off x="7287197" y="2395715"/>
              <a:ext cx="47610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5400" dirty="0"/>
                <a:t>5</a:t>
              </a:r>
              <a:endParaRPr lang="fr-FR" sz="5400" dirty="0"/>
            </a:p>
          </p:txBody>
        </p:sp>
        <p:sp>
          <p:nvSpPr>
            <p:cNvPr id="9" name="ZoneTexte 8">
              <a:extLst>
                <a:ext uri="{FF2B5EF4-FFF2-40B4-BE49-F238E27FC236}">
                  <a16:creationId xmlns:a16="http://schemas.microsoft.com/office/drawing/2014/main" id="{A21593F6-7EDE-5B7F-17F3-F21052779EE2}"/>
                </a:ext>
              </a:extLst>
            </p:cNvPr>
            <p:cNvSpPr txBox="1"/>
            <p:nvPr/>
          </p:nvSpPr>
          <p:spPr>
            <a:xfrm>
              <a:off x="6711569" y="3607016"/>
              <a:ext cx="6545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4800" dirty="0">
                  <a:solidFill>
                    <a:srgbClr val="0070C0"/>
                  </a:solidFill>
                  <a:latin typeface="BelleAllureCE" panose="02000803000000000000" pitchFamily="50" charset="0"/>
                </a:rPr>
                <a:t>.</a:t>
              </a:r>
              <a:endParaRPr lang="fr-FR" sz="4800" dirty="0">
                <a:solidFill>
                  <a:srgbClr val="0070C0"/>
                </a:solidFill>
                <a:latin typeface="BelleAllureCE" panose="02000803000000000000" pitchFamily="50" charset="0"/>
              </a:endParaRPr>
            </a:p>
          </p:txBody>
        </p:sp>
        <p:sp>
          <p:nvSpPr>
            <p:cNvPr id="10" name="ZoneTexte 9">
              <a:extLst>
                <a:ext uri="{FF2B5EF4-FFF2-40B4-BE49-F238E27FC236}">
                  <a16:creationId xmlns:a16="http://schemas.microsoft.com/office/drawing/2014/main" id="{82B40EE8-9201-838A-FC20-B68E9B7FAB8D}"/>
                </a:ext>
              </a:extLst>
            </p:cNvPr>
            <p:cNvSpPr txBox="1"/>
            <p:nvPr/>
          </p:nvSpPr>
          <p:spPr>
            <a:xfrm>
              <a:off x="8091379" y="3607015"/>
              <a:ext cx="6545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4800" dirty="0">
                  <a:solidFill>
                    <a:srgbClr val="0070C0"/>
                  </a:solidFill>
                  <a:latin typeface="BelleAllureCE" panose="02000803000000000000" pitchFamily="50" charset="0"/>
                </a:rPr>
                <a:t>.</a:t>
              </a:r>
              <a:endParaRPr lang="fr-FR" sz="4800" dirty="0">
                <a:solidFill>
                  <a:srgbClr val="0070C0"/>
                </a:solidFill>
                <a:latin typeface="BelleAllureCE" panose="02000803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42449162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C0C9D5C-1C5E-7AC3-347A-6736D8E761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 15">
            <a:extLst>
              <a:ext uri="{FF2B5EF4-FFF2-40B4-BE49-F238E27FC236}">
                <a16:creationId xmlns:a16="http://schemas.microsoft.com/office/drawing/2014/main" id="{A0BD41A5-0940-437A-47AC-8351ABA8B00D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8E0F3B96-4DC8-794A-FC66-222FA222A3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8706" y="529064"/>
            <a:ext cx="1440305" cy="1234547"/>
          </a:xfrm>
          <a:prstGeom prst="rect">
            <a:avLst/>
          </a:prstGeom>
        </p:spPr>
      </p:pic>
      <p:grpSp>
        <p:nvGrpSpPr>
          <p:cNvPr id="12" name="Groupe 11">
            <a:extLst>
              <a:ext uri="{FF2B5EF4-FFF2-40B4-BE49-F238E27FC236}">
                <a16:creationId xmlns:a16="http://schemas.microsoft.com/office/drawing/2014/main" id="{D6C6D77B-74D9-E1D8-7123-E0B47EC45BAD}"/>
              </a:ext>
            </a:extLst>
          </p:cNvPr>
          <p:cNvGrpSpPr/>
          <p:nvPr/>
        </p:nvGrpSpPr>
        <p:grpSpPr>
          <a:xfrm>
            <a:off x="803981" y="1603322"/>
            <a:ext cx="2393281" cy="2114697"/>
            <a:chOff x="6352673" y="2371651"/>
            <a:chExt cx="2393281" cy="2114697"/>
          </a:xfrm>
        </p:grpSpPr>
        <p:pic>
          <p:nvPicPr>
            <p:cNvPr id="3" name="Image 2">
              <a:extLst>
                <a:ext uri="{FF2B5EF4-FFF2-40B4-BE49-F238E27FC236}">
                  <a16:creationId xmlns:a16="http://schemas.microsoft.com/office/drawing/2014/main" id="{CC633019-B31F-A270-E2D3-AB7D3F2884E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352673" y="2371651"/>
              <a:ext cx="2393281" cy="2114697"/>
            </a:xfrm>
            <a:prstGeom prst="rect">
              <a:avLst/>
            </a:prstGeom>
          </p:spPr>
        </p:pic>
        <p:sp>
          <p:nvSpPr>
            <p:cNvPr id="9" name="ZoneTexte 8">
              <a:extLst>
                <a:ext uri="{FF2B5EF4-FFF2-40B4-BE49-F238E27FC236}">
                  <a16:creationId xmlns:a16="http://schemas.microsoft.com/office/drawing/2014/main" id="{5B5FEEDD-32D3-E509-CE55-DDB8959B6A93}"/>
                </a:ext>
              </a:extLst>
            </p:cNvPr>
            <p:cNvSpPr txBox="1"/>
            <p:nvPr/>
          </p:nvSpPr>
          <p:spPr>
            <a:xfrm>
              <a:off x="7287197" y="2395715"/>
              <a:ext cx="47610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5400" dirty="0"/>
                <a:t>5</a:t>
              </a:r>
              <a:endParaRPr lang="fr-FR" sz="5400" dirty="0"/>
            </a:p>
          </p:txBody>
        </p:sp>
        <p:sp>
          <p:nvSpPr>
            <p:cNvPr id="10" name="ZoneTexte 9">
              <a:extLst>
                <a:ext uri="{FF2B5EF4-FFF2-40B4-BE49-F238E27FC236}">
                  <a16:creationId xmlns:a16="http://schemas.microsoft.com/office/drawing/2014/main" id="{FEF630B2-87AE-5436-6BB8-D86D2D152B33}"/>
                </a:ext>
              </a:extLst>
            </p:cNvPr>
            <p:cNvSpPr txBox="1"/>
            <p:nvPr/>
          </p:nvSpPr>
          <p:spPr>
            <a:xfrm>
              <a:off x="6554253" y="3566096"/>
              <a:ext cx="6545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480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1" name="ZoneTexte 10">
              <a:extLst>
                <a:ext uri="{FF2B5EF4-FFF2-40B4-BE49-F238E27FC236}">
                  <a16:creationId xmlns:a16="http://schemas.microsoft.com/office/drawing/2014/main" id="{8F9CF666-F478-3FBC-0F54-87FFE34B3B5A}"/>
                </a:ext>
              </a:extLst>
            </p:cNvPr>
            <p:cNvSpPr txBox="1"/>
            <p:nvPr/>
          </p:nvSpPr>
          <p:spPr>
            <a:xfrm>
              <a:off x="7988637" y="3566096"/>
              <a:ext cx="6545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48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fr-FR" sz="4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D1156DE2-3AB4-AEB9-FF0F-5E08DEB2CFB7}"/>
              </a:ext>
            </a:extLst>
          </p:cNvPr>
          <p:cNvCxnSpPr/>
          <p:nvPr/>
        </p:nvCxnSpPr>
        <p:spPr>
          <a:xfrm>
            <a:off x="4590018" y="1696546"/>
            <a:ext cx="0" cy="1840831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e 5">
            <a:extLst>
              <a:ext uri="{FF2B5EF4-FFF2-40B4-BE49-F238E27FC236}">
                <a16:creationId xmlns:a16="http://schemas.microsoft.com/office/drawing/2014/main" id="{3737D5FE-E3C2-A846-2E4C-DF3CE104665D}"/>
              </a:ext>
            </a:extLst>
          </p:cNvPr>
          <p:cNvGrpSpPr/>
          <p:nvPr/>
        </p:nvGrpSpPr>
        <p:grpSpPr>
          <a:xfrm>
            <a:off x="5874776" y="1603322"/>
            <a:ext cx="2393281" cy="2114697"/>
            <a:chOff x="6352673" y="2371651"/>
            <a:chExt cx="2393281" cy="2114697"/>
          </a:xfrm>
        </p:grpSpPr>
        <p:pic>
          <p:nvPicPr>
            <p:cNvPr id="7" name="Image 6">
              <a:extLst>
                <a:ext uri="{FF2B5EF4-FFF2-40B4-BE49-F238E27FC236}">
                  <a16:creationId xmlns:a16="http://schemas.microsoft.com/office/drawing/2014/main" id="{3D332278-3EAA-6ADE-FA0F-F4BAB1C5B5D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352673" y="2371651"/>
              <a:ext cx="2393281" cy="2114697"/>
            </a:xfrm>
            <a:prstGeom prst="rect">
              <a:avLst/>
            </a:prstGeom>
          </p:spPr>
        </p:pic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id="{3E27A26F-EBDD-2367-A4EC-D6146794B140}"/>
                </a:ext>
              </a:extLst>
            </p:cNvPr>
            <p:cNvSpPr txBox="1"/>
            <p:nvPr/>
          </p:nvSpPr>
          <p:spPr>
            <a:xfrm>
              <a:off x="7287197" y="2395715"/>
              <a:ext cx="47610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5400" dirty="0"/>
                <a:t>5</a:t>
              </a:r>
              <a:endParaRPr lang="fr-FR" sz="5400" dirty="0"/>
            </a:p>
          </p:txBody>
        </p:sp>
        <p:sp>
          <p:nvSpPr>
            <p:cNvPr id="13" name="ZoneTexte 12">
              <a:extLst>
                <a:ext uri="{FF2B5EF4-FFF2-40B4-BE49-F238E27FC236}">
                  <a16:creationId xmlns:a16="http://schemas.microsoft.com/office/drawing/2014/main" id="{537135D1-A4EC-4B7A-B56E-BAB414E49099}"/>
                </a:ext>
              </a:extLst>
            </p:cNvPr>
            <p:cNvSpPr txBox="1"/>
            <p:nvPr/>
          </p:nvSpPr>
          <p:spPr>
            <a:xfrm>
              <a:off x="6554253" y="3566096"/>
              <a:ext cx="6545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48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fr-FR" sz="4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ZoneTexte 14">
              <a:extLst>
                <a:ext uri="{FF2B5EF4-FFF2-40B4-BE49-F238E27FC236}">
                  <a16:creationId xmlns:a16="http://schemas.microsoft.com/office/drawing/2014/main" id="{AE956010-E1A2-C8A2-EC72-2511F1F22357}"/>
                </a:ext>
              </a:extLst>
            </p:cNvPr>
            <p:cNvSpPr txBox="1"/>
            <p:nvPr/>
          </p:nvSpPr>
          <p:spPr>
            <a:xfrm>
              <a:off x="7988637" y="3566096"/>
              <a:ext cx="6545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48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fr-FR" sz="4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8ABC1DEE-0EFF-C3ED-09AD-1D7587F9F8CE}"/>
              </a:ext>
            </a:extLst>
          </p:cNvPr>
          <p:cNvGrpSpPr/>
          <p:nvPr/>
        </p:nvGrpSpPr>
        <p:grpSpPr>
          <a:xfrm>
            <a:off x="803981" y="4285385"/>
            <a:ext cx="2393281" cy="2114697"/>
            <a:chOff x="6352673" y="2371651"/>
            <a:chExt cx="2393281" cy="2114697"/>
          </a:xfrm>
        </p:grpSpPr>
        <p:pic>
          <p:nvPicPr>
            <p:cNvPr id="23" name="Image 22">
              <a:extLst>
                <a:ext uri="{FF2B5EF4-FFF2-40B4-BE49-F238E27FC236}">
                  <a16:creationId xmlns:a16="http://schemas.microsoft.com/office/drawing/2014/main" id="{BE0B78C8-CA46-EE75-7619-2B50119BA09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352673" y="2371651"/>
              <a:ext cx="2393281" cy="2114697"/>
            </a:xfrm>
            <a:prstGeom prst="rect">
              <a:avLst/>
            </a:prstGeom>
          </p:spPr>
        </p:pic>
        <p:sp>
          <p:nvSpPr>
            <p:cNvPr id="24" name="ZoneTexte 23">
              <a:extLst>
                <a:ext uri="{FF2B5EF4-FFF2-40B4-BE49-F238E27FC236}">
                  <a16:creationId xmlns:a16="http://schemas.microsoft.com/office/drawing/2014/main" id="{41F4F1A2-8586-F821-677C-F326DD75810A}"/>
                </a:ext>
              </a:extLst>
            </p:cNvPr>
            <p:cNvSpPr txBox="1"/>
            <p:nvPr/>
          </p:nvSpPr>
          <p:spPr>
            <a:xfrm>
              <a:off x="7287197" y="2395715"/>
              <a:ext cx="47610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5400" dirty="0"/>
                <a:t>5</a:t>
              </a:r>
              <a:endParaRPr lang="fr-FR" sz="5400" dirty="0"/>
            </a:p>
          </p:txBody>
        </p:sp>
        <p:sp>
          <p:nvSpPr>
            <p:cNvPr id="25" name="ZoneTexte 24">
              <a:extLst>
                <a:ext uri="{FF2B5EF4-FFF2-40B4-BE49-F238E27FC236}">
                  <a16:creationId xmlns:a16="http://schemas.microsoft.com/office/drawing/2014/main" id="{804A7336-458B-91A0-B480-E4BA39ABC026}"/>
                </a:ext>
              </a:extLst>
            </p:cNvPr>
            <p:cNvSpPr txBox="1"/>
            <p:nvPr/>
          </p:nvSpPr>
          <p:spPr>
            <a:xfrm>
              <a:off x="6554253" y="3566096"/>
              <a:ext cx="6545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48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fr-FR" sz="4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ZoneTexte 25">
              <a:extLst>
                <a:ext uri="{FF2B5EF4-FFF2-40B4-BE49-F238E27FC236}">
                  <a16:creationId xmlns:a16="http://schemas.microsoft.com/office/drawing/2014/main" id="{86F5DAB6-7EB5-C57B-0DB5-058A0D3CC180}"/>
                </a:ext>
              </a:extLst>
            </p:cNvPr>
            <p:cNvSpPr txBox="1"/>
            <p:nvPr/>
          </p:nvSpPr>
          <p:spPr>
            <a:xfrm>
              <a:off x="7988637" y="3566096"/>
              <a:ext cx="6545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48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fr-FR" sz="4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6CA2924B-750C-0D06-FD0A-32E80D12391E}"/>
              </a:ext>
            </a:extLst>
          </p:cNvPr>
          <p:cNvCxnSpPr/>
          <p:nvPr/>
        </p:nvCxnSpPr>
        <p:spPr>
          <a:xfrm>
            <a:off x="4590018" y="4378609"/>
            <a:ext cx="0" cy="1840831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9AB9AE7C-A266-A106-923C-DF978180FF3E}"/>
              </a:ext>
            </a:extLst>
          </p:cNvPr>
          <p:cNvGrpSpPr/>
          <p:nvPr/>
        </p:nvGrpSpPr>
        <p:grpSpPr>
          <a:xfrm>
            <a:off x="5874776" y="4285385"/>
            <a:ext cx="2393281" cy="2114697"/>
            <a:chOff x="6352673" y="2371651"/>
            <a:chExt cx="2393281" cy="2114697"/>
          </a:xfrm>
        </p:grpSpPr>
        <p:pic>
          <p:nvPicPr>
            <p:cNvPr id="29" name="Image 28">
              <a:extLst>
                <a:ext uri="{FF2B5EF4-FFF2-40B4-BE49-F238E27FC236}">
                  <a16:creationId xmlns:a16="http://schemas.microsoft.com/office/drawing/2014/main" id="{D631D408-C388-772C-9C7C-A2B21FD1E46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352673" y="2371651"/>
              <a:ext cx="2393281" cy="2114697"/>
            </a:xfrm>
            <a:prstGeom prst="rect">
              <a:avLst/>
            </a:prstGeom>
          </p:spPr>
        </p:pic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id="{A4F47F59-671E-617A-A966-829E52C494EB}"/>
                </a:ext>
              </a:extLst>
            </p:cNvPr>
            <p:cNvSpPr txBox="1"/>
            <p:nvPr/>
          </p:nvSpPr>
          <p:spPr>
            <a:xfrm>
              <a:off x="7287197" y="2395715"/>
              <a:ext cx="47610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5400" dirty="0"/>
                <a:t>5</a:t>
              </a:r>
              <a:endParaRPr lang="fr-FR" sz="5400" dirty="0"/>
            </a:p>
          </p:txBody>
        </p:sp>
        <p:sp>
          <p:nvSpPr>
            <p:cNvPr id="31" name="ZoneTexte 30">
              <a:extLst>
                <a:ext uri="{FF2B5EF4-FFF2-40B4-BE49-F238E27FC236}">
                  <a16:creationId xmlns:a16="http://schemas.microsoft.com/office/drawing/2014/main" id="{6D8A5DE6-03FC-73F9-928B-932CAA307894}"/>
                </a:ext>
              </a:extLst>
            </p:cNvPr>
            <p:cNvSpPr txBox="1"/>
            <p:nvPr/>
          </p:nvSpPr>
          <p:spPr>
            <a:xfrm>
              <a:off x="6554253" y="3566096"/>
              <a:ext cx="6545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48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fr-FR" sz="4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B73073E6-321B-F936-95FC-DD4CE12B288D}"/>
                </a:ext>
              </a:extLst>
            </p:cNvPr>
            <p:cNvSpPr txBox="1"/>
            <p:nvPr/>
          </p:nvSpPr>
          <p:spPr>
            <a:xfrm>
              <a:off x="7988637" y="3566096"/>
              <a:ext cx="6545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r-MA" sz="48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fr-FR" sz="4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ZoneTexte 4">
            <a:extLst>
              <a:ext uri="{FF2B5EF4-FFF2-40B4-BE49-F238E27FC236}">
                <a16:creationId xmlns:a16="http://schemas.microsoft.com/office/drawing/2014/main" id="{9882450D-7E58-14C1-6A51-3BDE10DE433D}"/>
              </a:ext>
            </a:extLst>
          </p:cNvPr>
          <p:cNvSpPr txBox="1"/>
          <p:nvPr/>
        </p:nvSpPr>
        <p:spPr>
          <a:xfrm>
            <a:off x="6156960" y="460731"/>
            <a:ext cx="224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نعم. العدد 5 هو 1 و4 ...</a:t>
            </a:r>
          </a:p>
        </p:txBody>
      </p:sp>
      <p:sp>
        <p:nvSpPr>
          <p:cNvPr id="17" name="ZoneTexte 4">
            <a:extLst>
              <a:ext uri="{FF2B5EF4-FFF2-40B4-BE49-F238E27FC236}">
                <a16:creationId xmlns:a16="http://schemas.microsoft.com/office/drawing/2014/main" id="{37F60A41-4F83-0B6A-86AB-75FB3CDAE9BE}"/>
              </a:ext>
            </a:extLst>
          </p:cNvPr>
          <p:cNvSpPr txBox="1"/>
          <p:nvPr/>
        </p:nvSpPr>
        <p:spPr>
          <a:xfrm>
            <a:off x="4115339" y="493167"/>
            <a:ext cx="22420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عدد 5 هو أيضا 2 و3 ... </a:t>
            </a:r>
          </a:p>
        </p:txBody>
      </p:sp>
      <p:sp>
        <p:nvSpPr>
          <p:cNvPr id="18" name="ZoneTexte 4">
            <a:extLst>
              <a:ext uri="{FF2B5EF4-FFF2-40B4-BE49-F238E27FC236}">
                <a16:creationId xmlns:a16="http://schemas.microsoft.com/office/drawing/2014/main" id="{86788AF2-490D-55D2-E33C-137D29D1ABB0}"/>
              </a:ext>
            </a:extLst>
          </p:cNvPr>
          <p:cNvSpPr txBox="1"/>
          <p:nvPr/>
        </p:nvSpPr>
        <p:spPr>
          <a:xfrm>
            <a:off x="4179264" y="824384"/>
            <a:ext cx="2178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عدد 5 هو كذلك 4 و1.</a:t>
            </a:r>
          </a:p>
        </p:txBody>
      </p:sp>
      <p:sp>
        <p:nvSpPr>
          <p:cNvPr id="19" name="ZoneTexte 4">
            <a:extLst>
              <a:ext uri="{FF2B5EF4-FFF2-40B4-BE49-F238E27FC236}">
                <a16:creationId xmlns:a16="http://schemas.microsoft.com/office/drawing/2014/main" id="{FB42A8B3-81AC-1F6B-A9CE-B26207D2E17B}"/>
              </a:ext>
            </a:extLst>
          </p:cNvPr>
          <p:cNvSpPr txBox="1"/>
          <p:nvPr/>
        </p:nvSpPr>
        <p:spPr>
          <a:xfrm>
            <a:off x="6165343" y="800136"/>
            <a:ext cx="224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عدد 5 هو أيضا 3 و2 ...</a:t>
            </a:r>
          </a:p>
        </p:txBody>
      </p:sp>
    </p:spTree>
    <p:extLst>
      <p:ext uri="{BB962C8B-B14F-4D97-AF65-F5344CB8AC3E}">
        <p14:creationId xmlns:p14="http://schemas.microsoft.com/office/powerpoint/2010/main" val="5245076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19" grpId="0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AC82E84-66F5-885C-FFF5-F012D1A9D0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>
            <a:extLst>
              <a:ext uri="{FF2B5EF4-FFF2-40B4-BE49-F238E27FC236}">
                <a16:creationId xmlns:a16="http://schemas.microsoft.com/office/drawing/2014/main" id="{9E3532FA-10BA-8653-7F98-04EE60C41486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12FA1EC2-9ED3-40A6-1B52-E771787ED56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5033" y="2555378"/>
            <a:ext cx="8473933" cy="2253951"/>
          </a:xfrm>
          <a:prstGeom prst="rect">
            <a:avLst/>
          </a:prstGeom>
        </p:spPr>
      </p:pic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254EAB26-23E5-C5DA-CC5C-010235D73E4B}"/>
              </a:ext>
            </a:extLst>
          </p:cNvPr>
          <p:cNvSpPr/>
          <p:nvPr/>
        </p:nvSpPr>
        <p:spPr>
          <a:xfrm>
            <a:off x="2754097" y="2920181"/>
            <a:ext cx="1512168" cy="1889148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484866B6-6A1C-70B8-B9D9-29C0710FEF30}"/>
              </a:ext>
            </a:extLst>
          </p:cNvPr>
          <p:cNvSpPr txBox="1"/>
          <p:nvPr/>
        </p:nvSpPr>
        <p:spPr>
          <a:xfrm>
            <a:off x="785326" y="3903786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1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03657970-A9D4-6120-0C82-5D70BDF19118}"/>
              </a:ext>
            </a:extLst>
          </p:cNvPr>
          <p:cNvSpPr txBox="1"/>
          <p:nvPr/>
        </p:nvSpPr>
        <p:spPr>
          <a:xfrm>
            <a:off x="1502823" y="3893954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4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2CC724D-15DD-7312-2A56-227DD532E656}"/>
              </a:ext>
            </a:extLst>
          </p:cNvPr>
          <p:cNvSpPr txBox="1"/>
          <p:nvPr/>
        </p:nvSpPr>
        <p:spPr>
          <a:xfrm>
            <a:off x="368249" y="567451"/>
            <a:ext cx="80922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الآن سنشتغل على الكراسات. خذوا الصفحة </a:t>
            </a: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5</a:t>
            </a:r>
            <a:r>
              <a:rPr kumimoji="0" lang="ar-MA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النشاط 5.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algn="r" rtl="1"/>
            <a:r>
              <a:rPr lang="ar-MA" b="1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عدد 5 هو أيضا 2 وماذا؟ </a:t>
            </a:r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سأمر بين الصفوف لمساعدتكم.</a:t>
            </a:r>
            <a:endParaRPr kumimoji="0" lang="ar-MA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10A4FE07-DEEA-2D99-5CA7-74B303CCF8F5}"/>
              </a:ext>
            </a:extLst>
          </p:cNvPr>
          <p:cNvSpPr txBox="1"/>
          <p:nvPr/>
        </p:nvSpPr>
        <p:spPr>
          <a:xfrm>
            <a:off x="2977332" y="3938201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2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2" name="Flèche : bas 1">
            <a:extLst>
              <a:ext uri="{FF2B5EF4-FFF2-40B4-BE49-F238E27FC236}">
                <a16:creationId xmlns:a16="http://schemas.microsoft.com/office/drawing/2014/main" id="{DB7422AA-C2BE-60E0-3475-C5F15EB92942}"/>
              </a:ext>
            </a:extLst>
          </p:cNvPr>
          <p:cNvSpPr/>
          <p:nvPr/>
        </p:nvSpPr>
        <p:spPr>
          <a:xfrm>
            <a:off x="3258153" y="2176483"/>
            <a:ext cx="504056" cy="649074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AC64B3A2-29B1-ADE0-75BB-AA973CD35A9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8249" y="567451"/>
            <a:ext cx="1224136" cy="1124108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333349807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50F2049-A042-F5D7-7844-8F6E80B6F2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08D41C40-2F1A-F13F-22DD-5474B3865BD6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D73621DC-532D-8E3B-D7CB-A6CD5591254A}"/>
              </a:ext>
            </a:extLst>
          </p:cNvPr>
          <p:cNvSpPr txBox="1"/>
          <p:nvPr/>
        </p:nvSpPr>
        <p:spPr>
          <a:xfrm>
            <a:off x="878551" y="563454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تهى الوقت. يقدم كل واحد نتيجته لزميله مع الشرح. </a:t>
            </a:r>
            <a:endParaRPr lang="fr-FR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60F259A2-2033-4451-D050-303E4BE8B5E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0366" y="1916832"/>
            <a:ext cx="4843267" cy="3672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766305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07EE143-FE10-8ADE-BE10-F2DF8DD16B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57702135-EC06-DB29-4E3C-4465C584DF87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3E71CCAE-FF0E-3653-1977-3060917FF44A}"/>
              </a:ext>
            </a:extLst>
          </p:cNvPr>
          <p:cNvSpPr txBox="1"/>
          <p:nvPr/>
        </p:nvSpPr>
        <p:spPr>
          <a:xfrm>
            <a:off x="2386049" y="539388"/>
            <a:ext cx="6026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قلوا النتيجة على الألواح.</a:t>
            </a:r>
            <a:endParaRPr lang="fr-FR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29D3842-3852-4B66-086D-518FC582FC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09911" y="2169000"/>
            <a:ext cx="3924179" cy="2520000"/>
          </a:xfrm>
          <a:prstGeom prst="rect">
            <a:avLst/>
          </a:prstGeom>
        </p:spPr>
      </p:pic>
      <p:pic>
        <p:nvPicPr>
          <p:cNvPr id="6" name="Picture 9">
            <a:extLst>
              <a:ext uri="{FF2B5EF4-FFF2-40B4-BE49-F238E27FC236}">
                <a16:creationId xmlns:a16="http://schemas.microsoft.com/office/drawing/2014/main" id="{1BF60AC2-716C-77B7-2170-416F85C2F9A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1025" t="14561" r="11389" b="14089"/>
          <a:stretch/>
        </p:blipFill>
        <p:spPr>
          <a:xfrm>
            <a:off x="395536" y="540000"/>
            <a:ext cx="908902" cy="646331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28278293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think-cell data - do not delete" hidden="1">
            <a:extLst>
              <a:ext uri="{FF2B5EF4-FFF2-40B4-BE49-F238E27FC236}">
                <a16:creationId xmlns:a16="http://schemas.microsoft.com/office/drawing/2014/main" id="{A5913DB5-F681-AADA-AA9B-503BB3C38E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913DB5-F681-AADA-AA9B-503BB3C38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2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t="-5555" b="-5555"/>
            </a:stretch>
          </a:blipFill>
        </p:spPr>
        <p:txBody>
          <a:bodyPr/>
          <a:lstStyle/>
          <a:p>
            <a:pPr algn="just" defTabSz="457223"/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grpSp>
        <p:nvGrpSpPr>
          <p:cNvPr id="3" name="Group 3"/>
          <p:cNvGrpSpPr/>
          <p:nvPr/>
        </p:nvGrpSpPr>
        <p:grpSpPr>
          <a:xfrm>
            <a:off x="254000" y="736600"/>
            <a:ext cx="8636000" cy="5596244"/>
            <a:chOff x="0" y="0"/>
            <a:chExt cx="3895412" cy="25551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3895412" cy="2555175"/>
            </a:xfrm>
            <a:custGeom>
              <a:avLst/>
              <a:gdLst/>
              <a:ahLst/>
              <a:cxnLst/>
              <a:rect l="l" t="t" r="r" b="b"/>
              <a:pathLst>
                <a:path w="3895412" h="2555175">
                  <a:moveTo>
                    <a:pt x="6703" y="0"/>
                  </a:moveTo>
                  <a:lnTo>
                    <a:pt x="3888710" y="0"/>
                  </a:lnTo>
                  <a:cubicBezTo>
                    <a:pt x="3892411" y="0"/>
                    <a:pt x="3895412" y="3001"/>
                    <a:pt x="3895412" y="6703"/>
                  </a:cubicBezTo>
                  <a:lnTo>
                    <a:pt x="3895412" y="2548473"/>
                  </a:lnTo>
                  <a:cubicBezTo>
                    <a:pt x="3895412" y="2550250"/>
                    <a:pt x="3894706" y="2551955"/>
                    <a:pt x="3893449" y="2553212"/>
                  </a:cubicBezTo>
                  <a:cubicBezTo>
                    <a:pt x="3892192" y="2554469"/>
                    <a:pt x="3890487" y="2555175"/>
                    <a:pt x="3888710" y="2555175"/>
                  </a:cubicBezTo>
                  <a:lnTo>
                    <a:pt x="6703" y="2555175"/>
                  </a:lnTo>
                  <a:cubicBezTo>
                    <a:pt x="4925" y="2555175"/>
                    <a:pt x="3220" y="2554469"/>
                    <a:pt x="1963" y="2553212"/>
                  </a:cubicBezTo>
                  <a:cubicBezTo>
                    <a:pt x="706" y="2551955"/>
                    <a:pt x="0" y="2550250"/>
                    <a:pt x="0" y="2548473"/>
                  </a:cubicBezTo>
                  <a:lnTo>
                    <a:pt x="0" y="6703"/>
                  </a:lnTo>
                  <a:cubicBezTo>
                    <a:pt x="0" y="4925"/>
                    <a:pt x="706" y="3220"/>
                    <a:pt x="1963" y="1963"/>
                  </a:cubicBezTo>
                  <a:cubicBezTo>
                    <a:pt x="3220" y="706"/>
                    <a:pt x="4925" y="0"/>
                    <a:pt x="6703" y="0"/>
                  </a:cubicBezTo>
                  <a:close/>
                </a:path>
              </a:pathLst>
            </a:custGeom>
            <a:solidFill>
              <a:srgbClr val="FFFFFF"/>
            </a:solidFill>
            <a:ln w="19050">
              <a:solidFill>
                <a:srgbClr val="000000"/>
              </a:solidFill>
            </a:ln>
          </p:spPr>
          <p:txBody>
            <a:bodyPr/>
            <a:lstStyle/>
            <a:p>
              <a:pPr algn="just" defTabSz="457223"/>
              <a:endParaRPr lang="fr-MA" sz="90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25400" tIns="25400" rIns="25400" bIns="25400" rtlCol="0" anchor="ctr"/>
            <a:lstStyle/>
            <a:p>
              <a:pPr algn="just" defTabSz="457223">
                <a:lnSpc>
                  <a:spcPts val="1605"/>
                </a:lnSpc>
              </a:pPr>
              <a:endParaRPr sz="90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7" name="Freeform 7"/>
          <p:cNvSpPr/>
          <p:nvPr/>
        </p:nvSpPr>
        <p:spPr>
          <a:xfrm>
            <a:off x="8077201" y="294200"/>
            <a:ext cx="619583" cy="594800"/>
          </a:xfrm>
          <a:custGeom>
            <a:avLst/>
            <a:gdLst/>
            <a:ahLst/>
            <a:cxnLst/>
            <a:rect l="l" t="t" r="r" b="b"/>
            <a:pathLst>
              <a:path w="1239167" h="1189600">
                <a:moveTo>
                  <a:pt x="0" y="0"/>
                </a:moveTo>
                <a:lnTo>
                  <a:pt x="1239167" y="0"/>
                </a:lnTo>
                <a:lnTo>
                  <a:pt x="1239167" y="1189600"/>
                </a:lnTo>
                <a:lnTo>
                  <a:pt x="0" y="1189600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algn="just" defTabSz="457223"/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45" name="ZoneTexte 5">
            <a:extLst>
              <a:ext uri="{FF2B5EF4-FFF2-40B4-BE49-F238E27FC236}">
                <a16:creationId xmlns:a16="http://schemas.microsoft.com/office/drawing/2014/main" id="{ABA2A6A3-1EDB-77CA-044F-205840F96C09}"/>
              </a:ext>
            </a:extLst>
          </p:cNvPr>
          <p:cNvSpPr txBox="1"/>
          <p:nvPr/>
        </p:nvSpPr>
        <p:spPr>
          <a:xfrm>
            <a:off x="-76199" y="365553"/>
            <a:ext cx="17525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MA" sz="1600" i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خاص بالأستاذ</a:t>
            </a:r>
            <a:endParaRPr lang="fr-MA" sz="1600" i="1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D21DB1C-D298-6B57-4318-C68FD8DCE947}"/>
              </a:ext>
            </a:extLst>
          </p:cNvPr>
          <p:cNvSpPr txBox="1"/>
          <p:nvPr/>
        </p:nvSpPr>
        <p:spPr>
          <a:xfrm>
            <a:off x="1359139" y="2144323"/>
            <a:ext cx="6164669" cy="5027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1">
              <a:spcAft>
                <a:spcPts val="600"/>
              </a:spcAft>
            </a:pPr>
            <a:r>
              <a:rPr lang="ar-MA" sz="2400" b="1" kern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على الأقل </a:t>
            </a:r>
            <a:r>
              <a:rPr lang="fr-FR" sz="2400" b="1" kern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0%</a:t>
            </a:r>
            <a:r>
              <a:rPr lang="ar-MA" sz="2400" b="1" kern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من المتعلمين سيكونون قادرين على</a:t>
            </a:r>
            <a:r>
              <a:rPr lang="en-GB" sz="2667" b="1" kern="0">
                <a:solidFill>
                  <a:srgbClr val="10658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fr-FR" sz="2667" b="1" kern="0">
              <a:solidFill>
                <a:srgbClr val="10658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9D6A3147-0DFC-AF15-491E-F043AF0F253C}"/>
              </a:ext>
            </a:extLst>
          </p:cNvPr>
          <p:cNvSpPr/>
          <p:nvPr/>
        </p:nvSpPr>
        <p:spPr>
          <a:xfrm>
            <a:off x="7162800" y="3306938"/>
            <a:ext cx="361008" cy="349749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D14C045-02D3-7077-7653-8FE29C9975B9}"/>
              </a:ext>
            </a:extLst>
          </p:cNvPr>
          <p:cNvSpPr/>
          <p:nvPr/>
        </p:nvSpPr>
        <p:spPr>
          <a:xfrm>
            <a:off x="774065" y="3052724"/>
            <a:ext cx="7560840" cy="160473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rgbClr val="F2F2F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44A9ABB-B6D8-B950-929F-5A5DA55A0CFC}"/>
              </a:ext>
            </a:extLst>
          </p:cNvPr>
          <p:cNvCxnSpPr>
            <a:cxnSpLocks/>
          </p:cNvCxnSpPr>
          <p:nvPr/>
        </p:nvCxnSpPr>
        <p:spPr>
          <a:xfrm>
            <a:off x="1335999" y="3398520"/>
            <a:ext cx="6015949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96D4D483-5B07-B4C2-3F60-E0B712665810}"/>
              </a:ext>
            </a:extLst>
          </p:cNvPr>
          <p:cNvCxnSpPr>
            <a:cxnSpLocks/>
          </p:cNvCxnSpPr>
          <p:nvPr/>
        </p:nvCxnSpPr>
        <p:spPr>
          <a:xfrm>
            <a:off x="1335999" y="4293096"/>
            <a:ext cx="6007305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ZoneTexte 11">
            <a:extLst>
              <a:ext uri="{FF2B5EF4-FFF2-40B4-BE49-F238E27FC236}">
                <a16:creationId xmlns:a16="http://schemas.microsoft.com/office/drawing/2014/main" id="{407B291E-39AB-ED59-91BB-808EBC9ED614}"/>
              </a:ext>
            </a:extLst>
          </p:cNvPr>
          <p:cNvSpPr txBox="1"/>
          <p:nvPr/>
        </p:nvSpPr>
        <p:spPr>
          <a:xfrm>
            <a:off x="809095" y="3501008"/>
            <a:ext cx="6597397" cy="56836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r" rtl="1">
              <a:lnSpc>
                <a:spcPct val="150000"/>
              </a:lnSpc>
              <a:spcAft>
                <a:spcPts val="600"/>
              </a:spcAft>
            </a:pPr>
            <a:r>
              <a:rPr lang="ar-MA" sz="2300" b="1" kern="0" dirty="0">
                <a:solidFill>
                  <a:srgbClr val="2D376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تفكيك العددين 4 و5.</a:t>
            </a:r>
          </a:p>
        </p:txBody>
      </p:sp>
      <p:sp>
        <p:nvSpPr>
          <p:cNvPr id="9" name="ZoneTexte 11">
            <a:extLst>
              <a:ext uri="{FF2B5EF4-FFF2-40B4-BE49-F238E27FC236}">
                <a16:creationId xmlns:a16="http://schemas.microsoft.com/office/drawing/2014/main" id="{06969316-D502-BE78-1B94-FE9FEFDCBF13}"/>
              </a:ext>
            </a:extLst>
          </p:cNvPr>
          <p:cNvSpPr txBox="1"/>
          <p:nvPr/>
        </p:nvSpPr>
        <p:spPr>
          <a:xfrm>
            <a:off x="4702526" y="5241904"/>
            <a:ext cx="1066949" cy="56836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r" rtl="1">
              <a:lnSpc>
                <a:spcPct val="150000"/>
              </a:lnSpc>
              <a:spcAft>
                <a:spcPts val="600"/>
              </a:spcAft>
            </a:pPr>
            <a:r>
              <a:rPr lang="ar-MA" sz="2300" b="1" kern="0" dirty="0">
                <a:solidFill>
                  <a:srgbClr val="2D376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كفاية: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0EF2E8A1-FB93-F01D-4E55-E63ABBEC4E9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66413" y="5403292"/>
            <a:ext cx="578289" cy="386627"/>
          </a:xfrm>
          <a:prstGeom prst="rect">
            <a:avLst/>
          </a:prstGeom>
        </p:spPr>
      </p:pic>
      <p:sp>
        <p:nvSpPr>
          <p:cNvPr id="13" name="Oval 23">
            <a:extLst>
              <a:ext uri="{FF2B5EF4-FFF2-40B4-BE49-F238E27FC236}">
                <a16:creationId xmlns:a16="http://schemas.microsoft.com/office/drawing/2014/main" id="{5F88AF1A-95D1-84DD-3E0D-DB062E49B187}"/>
              </a:ext>
            </a:extLst>
          </p:cNvPr>
          <p:cNvSpPr/>
          <p:nvPr/>
        </p:nvSpPr>
        <p:spPr>
          <a:xfrm>
            <a:off x="7748852" y="3656687"/>
            <a:ext cx="361008" cy="349749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Oval 86">
            <a:extLst>
              <a:ext uri="{FF2B5EF4-FFF2-40B4-BE49-F238E27FC236}">
                <a16:creationId xmlns:a16="http://schemas.microsoft.com/office/drawing/2014/main" id="{C1A55318-BF3B-086B-4E68-DA4D9431011C}"/>
              </a:ext>
            </a:extLst>
          </p:cNvPr>
          <p:cNvSpPr/>
          <p:nvPr/>
        </p:nvSpPr>
        <p:spPr>
          <a:xfrm flipH="1">
            <a:off x="7731967" y="3645997"/>
            <a:ext cx="387758" cy="376435"/>
          </a:xfrm>
          <a:prstGeom prst="ellipse">
            <a:avLst/>
          </a:prstGeom>
          <a:solidFill>
            <a:srgbClr val="005664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Uighur" panose="02000000000000000000" pitchFamily="2" charset="-78"/>
              <a:cs typeface="Microsoft Uighur" panose="02000000000000000000" pitchFamily="2" charset="-78"/>
            </a:endParaRPr>
          </a:p>
        </p:txBody>
      </p:sp>
      <p:pic>
        <p:nvPicPr>
          <p:cNvPr id="16" name="Graphique 25">
            <a:extLst>
              <a:ext uri="{FF2B5EF4-FFF2-40B4-BE49-F238E27FC236}">
                <a16:creationId xmlns:a16="http://schemas.microsoft.com/office/drawing/2014/main" id="{1C1663B9-24DF-1905-A2AC-FE267FB6EAF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822415" y="3656687"/>
            <a:ext cx="352096" cy="272874"/>
          </a:xfrm>
          <a:prstGeom prst="rect">
            <a:avLst/>
          </a:prstGeom>
        </p:spPr>
      </p:pic>
      <p:sp>
        <p:nvSpPr>
          <p:cNvPr id="20" name="Rectangle : coins arrondis 95">
            <a:extLst>
              <a:ext uri="{FF2B5EF4-FFF2-40B4-BE49-F238E27FC236}">
                <a16:creationId xmlns:a16="http://schemas.microsoft.com/office/drawing/2014/main" id="{7FD4728D-BE47-BDCD-93F3-1FE2DF50937C}"/>
              </a:ext>
            </a:extLst>
          </p:cNvPr>
          <p:cNvSpPr/>
          <p:nvPr/>
        </p:nvSpPr>
        <p:spPr>
          <a:xfrm flipH="1" flipV="1">
            <a:off x="1737456" y="1415815"/>
            <a:ext cx="5614492" cy="532201"/>
          </a:xfrm>
          <a:prstGeom prst="roundRect">
            <a:avLst>
              <a:gd name="adj" fmla="val 50000"/>
            </a:avLst>
          </a:prstGeom>
          <a:solidFill>
            <a:srgbClr val="2B7589"/>
          </a:solidFill>
          <a:ln w="13658" cap="flat">
            <a:solidFill>
              <a:srgbClr val="005664"/>
            </a:solidFill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3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ir Strip Arabic" panose="02000500000000000000" pitchFamily="2" charset="-78"/>
              <a:cs typeface="Air Strip Arabic" panose="02000500000000000000" pitchFamily="2" charset="-78"/>
            </a:endParaRPr>
          </a:p>
        </p:txBody>
      </p:sp>
      <p:sp>
        <p:nvSpPr>
          <p:cNvPr id="21" name="TextBox 13">
            <a:extLst>
              <a:ext uri="{FF2B5EF4-FFF2-40B4-BE49-F238E27FC236}">
                <a16:creationId xmlns:a16="http://schemas.microsoft.com/office/drawing/2014/main" id="{B610CEB8-8CDB-4E72-5A63-7913735BA8CF}"/>
              </a:ext>
            </a:extLst>
          </p:cNvPr>
          <p:cNvSpPr txBox="1"/>
          <p:nvPr/>
        </p:nvSpPr>
        <p:spPr>
          <a:xfrm>
            <a:off x="1620192" y="1539426"/>
            <a:ext cx="6164669" cy="676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2075"/>
              </a:lnSpc>
            </a:pPr>
            <a:r>
              <a:rPr lang="ar-MA" sz="3334" b="1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عند نهاية الحصة</a:t>
            </a:r>
          </a:p>
          <a:p>
            <a:pPr algn="ctr">
              <a:lnSpc>
                <a:spcPts val="2075"/>
              </a:lnSpc>
            </a:pPr>
            <a:r>
              <a:rPr lang="ar-MA" sz="3334" b="1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fr-FR" sz="3334" b="1" kern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713108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3E51BB1-425C-8BCD-62F1-D511B4F1E5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BECE83FC-FC37-D99F-737C-CB82E83D1B88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5E4CE67B-D14C-1837-EBF0-430C8603A652}"/>
              </a:ext>
            </a:extLst>
          </p:cNvPr>
          <p:cNvSpPr txBox="1"/>
          <p:nvPr/>
        </p:nvSpPr>
        <p:spPr>
          <a:xfrm>
            <a:off x="2386049" y="539388"/>
            <a:ext cx="6026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رفعوا الألواح.</a:t>
            </a:r>
            <a:endParaRPr lang="fr-FR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3E86092D-7053-AC77-2B26-4EC95643DC6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025" t="14561" r="11389" b="14089"/>
          <a:stretch/>
        </p:blipFill>
        <p:spPr>
          <a:xfrm>
            <a:off x="395536" y="540000"/>
            <a:ext cx="908902" cy="646331"/>
          </a:xfrm>
          <a:prstGeom prst="round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C9A08881-0CF5-032C-43C5-EFB1E05836E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13696" y="2169000"/>
            <a:ext cx="3768019" cy="2700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213944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EFD4622-0CF9-58CA-6069-81444077E2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>
            <a:extLst>
              <a:ext uri="{FF2B5EF4-FFF2-40B4-BE49-F238E27FC236}">
                <a16:creationId xmlns:a16="http://schemas.microsoft.com/office/drawing/2014/main" id="{68FEC727-5668-B9E3-C835-7E50FC1DB4C2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1B30DE61-472E-09C2-EA90-4232782AF0A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5033" y="2555378"/>
            <a:ext cx="8473933" cy="2253951"/>
          </a:xfrm>
          <a:prstGeom prst="rect">
            <a:avLst/>
          </a:prstGeom>
        </p:spPr>
      </p:pic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28C460D8-20CC-77D7-075D-8A6117FDECA4}"/>
              </a:ext>
            </a:extLst>
          </p:cNvPr>
          <p:cNvSpPr/>
          <p:nvPr/>
        </p:nvSpPr>
        <p:spPr>
          <a:xfrm>
            <a:off x="2754097" y="2920181"/>
            <a:ext cx="1512168" cy="1889148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4480AB21-E185-A506-4741-12208F7278EA}"/>
              </a:ext>
            </a:extLst>
          </p:cNvPr>
          <p:cNvSpPr txBox="1"/>
          <p:nvPr/>
        </p:nvSpPr>
        <p:spPr>
          <a:xfrm>
            <a:off x="785326" y="3903786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1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62537590-098E-EF93-4FF8-DB48120F9B2C}"/>
              </a:ext>
            </a:extLst>
          </p:cNvPr>
          <p:cNvSpPr txBox="1"/>
          <p:nvPr/>
        </p:nvSpPr>
        <p:spPr>
          <a:xfrm>
            <a:off x="1502823" y="3893954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4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FBE95C95-3324-1273-CEE1-5E9DFF7A1B7B}"/>
              </a:ext>
            </a:extLst>
          </p:cNvPr>
          <p:cNvSpPr txBox="1"/>
          <p:nvPr/>
        </p:nvSpPr>
        <p:spPr>
          <a:xfrm>
            <a:off x="2977332" y="3938201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2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2" name="ZoneTexte 7">
            <a:extLst>
              <a:ext uri="{FF2B5EF4-FFF2-40B4-BE49-F238E27FC236}">
                <a16:creationId xmlns:a16="http://schemas.microsoft.com/office/drawing/2014/main" id="{70CF1CA1-BCB1-D349-99A5-1BBE5AC70B7C}"/>
              </a:ext>
            </a:extLst>
          </p:cNvPr>
          <p:cNvSpPr txBox="1"/>
          <p:nvPr/>
        </p:nvSpPr>
        <p:spPr>
          <a:xfrm>
            <a:off x="2386049" y="539388"/>
            <a:ext cx="60261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سأختار أحد  التلاميذ ليقوم إلى السبورة ويشرح لنا كيف قام بذلك.</a:t>
            </a:r>
          </a:p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نصحح. العدد 5 هو كذلك 2 و3.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645F50E3-1AAB-7029-CF90-511BCC840234}"/>
              </a:ext>
            </a:extLst>
          </p:cNvPr>
          <p:cNvSpPr txBox="1"/>
          <p:nvPr/>
        </p:nvSpPr>
        <p:spPr>
          <a:xfrm>
            <a:off x="3690622" y="3938201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3</a:t>
            </a:r>
            <a:endParaRPr lang="fr-FR" sz="2800" b="1" dirty="0">
              <a:solidFill>
                <a:srgbClr val="0070C0"/>
              </a:solidFill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9A243DA5-BCCD-B315-B52C-203FDE3C82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9140" y="361770"/>
            <a:ext cx="1569466" cy="1119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773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9539EBA-DDED-AAEE-DD12-4BAC2BB220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>
            <a:extLst>
              <a:ext uri="{FF2B5EF4-FFF2-40B4-BE49-F238E27FC236}">
                <a16:creationId xmlns:a16="http://schemas.microsoft.com/office/drawing/2014/main" id="{F81A51F3-160E-08B3-6D5F-5AB2C313E2D2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14D343CC-7A96-F457-5DFD-CE7CA06EC61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5033" y="2555378"/>
            <a:ext cx="8473933" cy="2253951"/>
          </a:xfrm>
          <a:prstGeom prst="rect">
            <a:avLst/>
          </a:prstGeom>
        </p:spPr>
      </p:pic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B7EC4525-FA76-A221-86CF-104DE6E87793}"/>
              </a:ext>
            </a:extLst>
          </p:cNvPr>
          <p:cNvSpPr/>
          <p:nvPr/>
        </p:nvSpPr>
        <p:spPr>
          <a:xfrm>
            <a:off x="4897534" y="2920181"/>
            <a:ext cx="1512168" cy="1889148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CC4EC791-9883-2D9F-7FAE-CFEBF472E22E}"/>
              </a:ext>
            </a:extLst>
          </p:cNvPr>
          <p:cNvSpPr txBox="1"/>
          <p:nvPr/>
        </p:nvSpPr>
        <p:spPr>
          <a:xfrm>
            <a:off x="785326" y="3903786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1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CADD49E-2AD2-4CD9-DDE5-DF09D1B245F7}"/>
              </a:ext>
            </a:extLst>
          </p:cNvPr>
          <p:cNvSpPr txBox="1"/>
          <p:nvPr/>
        </p:nvSpPr>
        <p:spPr>
          <a:xfrm>
            <a:off x="1502823" y="3893954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4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70383DF-A9A5-57A7-AEFA-7558CB7A7C6E}"/>
              </a:ext>
            </a:extLst>
          </p:cNvPr>
          <p:cNvSpPr txBox="1"/>
          <p:nvPr/>
        </p:nvSpPr>
        <p:spPr>
          <a:xfrm>
            <a:off x="2977332" y="3938201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2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2" name="ZoneTexte 7">
            <a:extLst>
              <a:ext uri="{FF2B5EF4-FFF2-40B4-BE49-F238E27FC236}">
                <a16:creationId xmlns:a16="http://schemas.microsoft.com/office/drawing/2014/main" id="{ECEAD43C-4A7E-39AD-FE67-89944B3A7FAA}"/>
              </a:ext>
            </a:extLst>
          </p:cNvPr>
          <p:cNvSpPr txBox="1"/>
          <p:nvPr/>
        </p:nvSpPr>
        <p:spPr>
          <a:xfrm>
            <a:off x="2386049" y="539388"/>
            <a:ext cx="6026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عدد 5 هو كذلك 3 وماذا؟ سأمر بين الصفوف لمساعدتكم.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B327368-0401-8801-606E-C50A016D43A8}"/>
              </a:ext>
            </a:extLst>
          </p:cNvPr>
          <p:cNvSpPr txBox="1"/>
          <p:nvPr/>
        </p:nvSpPr>
        <p:spPr>
          <a:xfrm>
            <a:off x="3690622" y="3938201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3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13123A98-B999-913D-51D2-81862A6D0C08}"/>
              </a:ext>
            </a:extLst>
          </p:cNvPr>
          <p:cNvSpPr txBox="1"/>
          <p:nvPr/>
        </p:nvSpPr>
        <p:spPr>
          <a:xfrm>
            <a:off x="5160363" y="3957865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3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11" name="Flèche : bas 10">
            <a:extLst>
              <a:ext uri="{FF2B5EF4-FFF2-40B4-BE49-F238E27FC236}">
                <a16:creationId xmlns:a16="http://schemas.microsoft.com/office/drawing/2014/main" id="{2DE39683-5344-FBA5-FEA5-7EAB847B4137}"/>
              </a:ext>
            </a:extLst>
          </p:cNvPr>
          <p:cNvSpPr/>
          <p:nvPr/>
        </p:nvSpPr>
        <p:spPr>
          <a:xfrm>
            <a:off x="5401590" y="2176483"/>
            <a:ext cx="504056" cy="649074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5222A397-5C92-8450-5F40-CA79393D130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8249" y="567451"/>
            <a:ext cx="1224136" cy="1124108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4161022977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86F841-F03E-27EF-5C29-B4680BB801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EBB176CF-96D3-74E1-770B-9A651538805B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CC15802A-C65D-6D09-2BE8-00A32BC5B7AC}"/>
              </a:ext>
            </a:extLst>
          </p:cNvPr>
          <p:cNvSpPr txBox="1"/>
          <p:nvPr/>
        </p:nvSpPr>
        <p:spPr>
          <a:xfrm>
            <a:off x="878551" y="563454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تهى الوقت. يقدم كل واحد نتيجته لزميله مع الشرح. </a:t>
            </a:r>
            <a:endParaRPr lang="fr-FR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1D1B679B-A2A0-127C-628A-C4CB578EE13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0366" y="1916832"/>
            <a:ext cx="4843267" cy="3672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655697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C9FA0CD-C2AB-1CED-E9CA-F383569E6B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4D878243-E48F-A00B-C3A4-8BB5C7104AE1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984009C2-9D43-4FDC-A4F0-51C5BECE05D9}"/>
              </a:ext>
            </a:extLst>
          </p:cNvPr>
          <p:cNvSpPr txBox="1"/>
          <p:nvPr/>
        </p:nvSpPr>
        <p:spPr>
          <a:xfrm>
            <a:off x="2386049" y="539388"/>
            <a:ext cx="6026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قلوا النتيجة على الألواح.</a:t>
            </a:r>
            <a:endParaRPr lang="fr-FR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E6E540B9-5F1F-B985-61CD-90A18982BA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09911" y="2169000"/>
            <a:ext cx="3924179" cy="2520000"/>
          </a:xfrm>
          <a:prstGeom prst="rect">
            <a:avLst/>
          </a:prstGeom>
        </p:spPr>
      </p:pic>
      <p:pic>
        <p:nvPicPr>
          <p:cNvPr id="6" name="Picture 9">
            <a:extLst>
              <a:ext uri="{FF2B5EF4-FFF2-40B4-BE49-F238E27FC236}">
                <a16:creationId xmlns:a16="http://schemas.microsoft.com/office/drawing/2014/main" id="{23855038-99EE-CA20-BE6A-B520EC694A0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1025" t="14561" r="11389" b="14089"/>
          <a:stretch/>
        </p:blipFill>
        <p:spPr>
          <a:xfrm>
            <a:off x="395536" y="540000"/>
            <a:ext cx="908902" cy="646331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1094062756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6569493-72DC-AF91-12CE-0FAE71CEB1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A35F3651-EB33-713A-7AF6-62CB833A76D4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6333DC0A-BCA0-238F-43A3-22971AF0F026}"/>
              </a:ext>
            </a:extLst>
          </p:cNvPr>
          <p:cNvSpPr txBox="1"/>
          <p:nvPr/>
        </p:nvSpPr>
        <p:spPr>
          <a:xfrm>
            <a:off x="2386049" y="539388"/>
            <a:ext cx="6026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رفعوا الألواح.</a:t>
            </a:r>
            <a:endParaRPr lang="fr-FR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3326DA81-B8E2-F8F1-BCFD-C1E5011416A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025" t="14561" r="11389" b="14089"/>
          <a:stretch/>
        </p:blipFill>
        <p:spPr>
          <a:xfrm>
            <a:off x="395536" y="540000"/>
            <a:ext cx="908902" cy="646331"/>
          </a:xfrm>
          <a:prstGeom prst="round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F1CDAAF2-7299-840D-F0F8-6E79C14D82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13696" y="2169000"/>
            <a:ext cx="3768019" cy="2700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978664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FACB23A-D840-6D79-6F78-1D348A973F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5FADDE24-06B3-8993-9383-BCE859CCDEC8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20B406CA-82E0-295C-B5EF-6F38B704BD1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5033" y="2555378"/>
            <a:ext cx="8473933" cy="2253951"/>
          </a:xfrm>
          <a:prstGeom prst="rect">
            <a:avLst/>
          </a:prstGeom>
        </p:spPr>
      </p:pic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0276139F-2007-C344-321D-297B706C5852}"/>
              </a:ext>
            </a:extLst>
          </p:cNvPr>
          <p:cNvSpPr/>
          <p:nvPr/>
        </p:nvSpPr>
        <p:spPr>
          <a:xfrm>
            <a:off x="4897534" y="2920181"/>
            <a:ext cx="1512168" cy="1889148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DD4A118F-FC00-7B0F-A1CA-0808A78915F9}"/>
              </a:ext>
            </a:extLst>
          </p:cNvPr>
          <p:cNvSpPr txBox="1"/>
          <p:nvPr/>
        </p:nvSpPr>
        <p:spPr>
          <a:xfrm>
            <a:off x="785326" y="3903786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1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21DBCEA3-1810-D64A-088D-4A94F74CBE52}"/>
              </a:ext>
            </a:extLst>
          </p:cNvPr>
          <p:cNvSpPr txBox="1"/>
          <p:nvPr/>
        </p:nvSpPr>
        <p:spPr>
          <a:xfrm>
            <a:off x="1502823" y="3893954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4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06EFBAA7-8C1A-FFD8-DF92-EAAA430E6E85}"/>
              </a:ext>
            </a:extLst>
          </p:cNvPr>
          <p:cNvSpPr txBox="1"/>
          <p:nvPr/>
        </p:nvSpPr>
        <p:spPr>
          <a:xfrm>
            <a:off x="2977332" y="3938201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2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BECED768-F508-2C40-80FE-3516751A5D42}"/>
              </a:ext>
            </a:extLst>
          </p:cNvPr>
          <p:cNvSpPr txBox="1"/>
          <p:nvPr/>
        </p:nvSpPr>
        <p:spPr>
          <a:xfrm>
            <a:off x="3690622" y="3938201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3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1BDA1F70-314F-6408-7F2A-7218582D5960}"/>
              </a:ext>
            </a:extLst>
          </p:cNvPr>
          <p:cNvSpPr txBox="1"/>
          <p:nvPr/>
        </p:nvSpPr>
        <p:spPr>
          <a:xfrm>
            <a:off x="5160363" y="3957865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3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12" name="ZoneTexte 7">
            <a:extLst>
              <a:ext uri="{FF2B5EF4-FFF2-40B4-BE49-F238E27FC236}">
                <a16:creationId xmlns:a16="http://schemas.microsoft.com/office/drawing/2014/main" id="{45AFCD10-D30C-93F2-E1AB-1767FCF89541}"/>
              </a:ext>
            </a:extLst>
          </p:cNvPr>
          <p:cNvSpPr txBox="1"/>
          <p:nvPr/>
        </p:nvSpPr>
        <p:spPr>
          <a:xfrm>
            <a:off x="2386049" y="539388"/>
            <a:ext cx="60261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سأختار أحد  التلاميذ ليقوم إلى السبورة ويشرح لنا كيف قام بذلك.</a:t>
            </a:r>
          </a:p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نصحح. العدد 5 هو كذلك 3 و2.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E3950B9-2D74-4FF2-44A6-86010F5FE409}"/>
              </a:ext>
            </a:extLst>
          </p:cNvPr>
          <p:cNvSpPr txBox="1"/>
          <p:nvPr/>
        </p:nvSpPr>
        <p:spPr>
          <a:xfrm>
            <a:off x="5879190" y="3938201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2</a:t>
            </a:r>
            <a:endParaRPr lang="fr-FR" sz="2800" b="1" dirty="0">
              <a:solidFill>
                <a:srgbClr val="0070C0"/>
              </a:solidFill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486B2DAA-9710-A82F-CAC8-B5C94C3AC8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9140" y="361770"/>
            <a:ext cx="1569466" cy="1119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1117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F05DA1E-F5F9-F407-25AC-182ACD02AC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>
            <a:extLst>
              <a:ext uri="{FF2B5EF4-FFF2-40B4-BE49-F238E27FC236}">
                <a16:creationId xmlns:a16="http://schemas.microsoft.com/office/drawing/2014/main" id="{09BE7EF0-D628-8DC3-D129-9AE01ECF729B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FD991D63-0A68-8881-7327-A0FFD871014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5033" y="2555378"/>
            <a:ext cx="8473933" cy="2253951"/>
          </a:xfrm>
          <a:prstGeom prst="rect">
            <a:avLst/>
          </a:prstGeom>
        </p:spPr>
      </p:pic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D5EF301C-7721-03AD-A168-711ACC562732}"/>
              </a:ext>
            </a:extLst>
          </p:cNvPr>
          <p:cNvSpPr/>
          <p:nvPr/>
        </p:nvSpPr>
        <p:spPr>
          <a:xfrm>
            <a:off x="7139291" y="2920181"/>
            <a:ext cx="1512168" cy="1889148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D8C1EB54-E2BC-1A5E-BF54-DB0730772872}"/>
              </a:ext>
            </a:extLst>
          </p:cNvPr>
          <p:cNvSpPr txBox="1"/>
          <p:nvPr/>
        </p:nvSpPr>
        <p:spPr>
          <a:xfrm>
            <a:off x="785326" y="3903786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1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597C869C-AE40-865B-5514-1F722ADE6040}"/>
              </a:ext>
            </a:extLst>
          </p:cNvPr>
          <p:cNvSpPr txBox="1"/>
          <p:nvPr/>
        </p:nvSpPr>
        <p:spPr>
          <a:xfrm>
            <a:off x="1502823" y="3893954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4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01443A34-BCA5-8E84-0165-F9331B850998}"/>
              </a:ext>
            </a:extLst>
          </p:cNvPr>
          <p:cNvSpPr txBox="1"/>
          <p:nvPr/>
        </p:nvSpPr>
        <p:spPr>
          <a:xfrm>
            <a:off x="2977332" y="3938201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2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2" name="ZoneTexte 7">
            <a:extLst>
              <a:ext uri="{FF2B5EF4-FFF2-40B4-BE49-F238E27FC236}">
                <a16:creationId xmlns:a16="http://schemas.microsoft.com/office/drawing/2014/main" id="{4A410F98-29E2-6D06-6294-5ACCA02E00BA}"/>
              </a:ext>
            </a:extLst>
          </p:cNvPr>
          <p:cNvSpPr txBox="1"/>
          <p:nvPr/>
        </p:nvSpPr>
        <p:spPr>
          <a:xfrm>
            <a:off x="2386049" y="539388"/>
            <a:ext cx="6026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عدد 5 هو كذلك 4 وماذا؟ سأمر بين الصفوف لمساعدتكم.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0AF2D1B8-39FA-32DD-31CD-20E9DEE81CFC}"/>
              </a:ext>
            </a:extLst>
          </p:cNvPr>
          <p:cNvSpPr txBox="1"/>
          <p:nvPr/>
        </p:nvSpPr>
        <p:spPr>
          <a:xfrm>
            <a:off x="3690622" y="3938201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3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5A03F319-F545-41A5-0205-06F3D369E589}"/>
              </a:ext>
            </a:extLst>
          </p:cNvPr>
          <p:cNvSpPr txBox="1"/>
          <p:nvPr/>
        </p:nvSpPr>
        <p:spPr>
          <a:xfrm>
            <a:off x="5160363" y="3957865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3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11" name="Flèche : bas 10">
            <a:extLst>
              <a:ext uri="{FF2B5EF4-FFF2-40B4-BE49-F238E27FC236}">
                <a16:creationId xmlns:a16="http://schemas.microsoft.com/office/drawing/2014/main" id="{FD2CF8A7-C2B0-CE33-0E27-00E80646B301}"/>
              </a:ext>
            </a:extLst>
          </p:cNvPr>
          <p:cNvSpPr/>
          <p:nvPr/>
        </p:nvSpPr>
        <p:spPr>
          <a:xfrm>
            <a:off x="7643347" y="2271107"/>
            <a:ext cx="504056" cy="649074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B748AD58-F8A3-2A12-BBFE-CA43801F0DC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8249" y="567451"/>
            <a:ext cx="1224136" cy="1124108"/>
          </a:xfrm>
          <a:prstGeom prst="rect">
            <a:avLst/>
          </a:prstGeom>
          <a:ln>
            <a:noFill/>
          </a:ln>
          <a:effectLst/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E389A0F6-7385-1A32-82F7-1C28418D2274}"/>
              </a:ext>
            </a:extLst>
          </p:cNvPr>
          <p:cNvSpPr txBox="1"/>
          <p:nvPr/>
        </p:nvSpPr>
        <p:spPr>
          <a:xfrm>
            <a:off x="5879190" y="3938201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2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5D18CF17-35CD-7F63-050E-EBAE4E05760E}"/>
              </a:ext>
            </a:extLst>
          </p:cNvPr>
          <p:cNvSpPr txBox="1"/>
          <p:nvPr/>
        </p:nvSpPr>
        <p:spPr>
          <a:xfrm>
            <a:off x="7343394" y="3925945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4</a:t>
            </a:r>
            <a:endParaRPr lang="fr-FR" sz="28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21580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63D9AF0-248B-9BDF-801B-3F535AFAA6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6294261D-DBD2-C794-9898-EA8DCED0B1D3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66FACECC-A500-7E42-B80A-F0EFFA78BFCF}"/>
              </a:ext>
            </a:extLst>
          </p:cNvPr>
          <p:cNvSpPr txBox="1"/>
          <p:nvPr/>
        </p:nvSpPr>
        <p:spPr>
          <a:xfrm>
            <a:off x="878551" y="563454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تهى الوقت. يقدم كل واحد نتيجته لزميله مع الشرح. </a:t>
            </a:r>
            <a:endParaRPr lang="fr-FR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D6F0832F-ACF6-F67F-F1ED-58FE7B41572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0366" y="1916832"/>
            <a:ext cx="4843267" cy="3672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042354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BB0658B-44F8-0662-5422-239AA3F27F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A2A73626-951D-6B3C-9BDC-EF1089046B0D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AA6110A6-122D-8367-5658-8CF5757ED610}"/>
              </a:ext>
            </a:extLst>
          </p:cNvPr>
          <p:cNvSpPr txBox="1"/>
          <p:nvPr/>
        </p:nvSpPr>
        <p:spPr>
          <a:xfrm>
            <a:off x="2386049" y="539388"/>
            <a:ext cx="6026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قلوا النتيجة على الألواح.</a:t>
            </a:r>
            <a:endParaRPr lang="fr-FR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150CAE6E-E8FE-DD2D-BAAA-2489B4A13F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09911" y="2169000"/>
            <a:ext cx="3924179" cy="2520000"/>
          </a:xfrm>
          <a:prstGeom prst="rect">
            <a:avLst/>
          </a:prstGeom>
        </p:spPr>
      </p:pic>
      <p:pic>
        <p:nvPicPr>
          <p:cNvPr id="6" name="Picture 9">
            <a:extLst>
              <a:ext uri="{FF2B5EF4-FFF2-40B4-BE49-F238E27FC236}">
                <a16:creationId xmlns:a16="http://schemas.microsoft.com/office/drawing/2014/main" id="{EE18020C-5564-EBC8-BC66-94AA5E40B14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1025" t="14561" r="11389" b="14089"/>
          <a:stretch/>
        </p:blipFill>
        <p:spPr>
          <a:xfrm>
            <a:off x="395536" y="540000"/>
            <a:ext cx="908902" cy="646331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19936480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56E50A-0A92-B4C8-1221-317305D919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7AEAF39A-47AE-2859-CEC6-345BA54ED85B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5555" b="-5555"/>
            </a:stretch>
          </a:blipFill>
        </p:spPr>
        <p:txBody>
          <a:bodyPr/>
          <a:lstStyle/>
          <a:p>
            <a:pPr defTabSz="609660">
              <a:defRPr/>
            </a:pPr>
            <a:endParaRPr lang="fr-MA" sz="900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5" name="Ellipse 62">
            <a:extLst>
              <a:ext uri="{FF2B5EF4-FFF2-40B4-BE49-F238E27FC236}">
                <a16:creationId xmlns:a16="http://schemas.microsoft.com/office/drawing/2014/main" id="{6DBB46C9-7A1B-EBBC-8516-A4E7F6CA72E6}"/>
              </a:ext>
            </a:extLst>
          </p:cNvPr>
          <p:cNvSpPr/>
          <p:nvPr/>
        </p:nvSpPr>
        <p:spPr>
          <a:xfrm>
            <a:off x="1196648" y="46409"/>
            <a:ext cx="6811591" cy="6811591"/>
          </a:xfrm>
          <a:prstGeom prst="ellipse">
            <a:avLst/>
          </a:prstGeom>
          <a:solidFill>
            <a:srgbClr val="D6E9EA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2232CFA0-8C0A-A9A2-2ABE-0BD12D061C10}"/>
              </a:ext>
            </a:extLst>
          </p:cNvPr>
          <p:cNvSpPr txBox="1"/>
          <p:nvPr/>
        </p:nvSpPr>
        <p:spPr>
          <a:xfrm>
            <a:off x="1380413" y="2667001"/>
            <a:ext cx="6444063" cy="6779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60" rtl="1">
              <a:lnSpc>
                <a:spcPts val="5486"/>
              </a:lnSpc>
              <a:defRPr/>
            </a:pPr>
            <a:r>
              <a:rPr lang="ar-MA" sz="4400" b="1" dirty="0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. افتتاح الحصة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1103522D-1968-85DC-D0F1-DE74655BA9F4}"/>
              </a:ext>
            </a:extLst>
          </p:cNvPr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pPr defTabSz="60966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9DE8D10-2A73-DF56-A070-157E471B6D6A}"/>
              </a:ext>
            </a:extLst>
          </p:cNvPr>
          <p:cNvSpPr/>
          <p:nvPr/>
        </p:nvSpPr>
        <p:spPr>
          <a:xfrm>
            <a:off x="7804156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pPr defTabSz="609660">
              <a:defRPr/>
            </a:pPr>
            <a:endParaRPr lang="fr-MA" sz="428">
              <a:solidFill>
                <a:prstClr val="black"/>
              </a:solidFill>
              <a:latin typeface="Dosis" pitchFamily="2" charset="0"/>
            </a:endParaRPr>
          </a:p>
        </p:txBody>
      </p:sp>
      <p:sp>
        <p:nvSpPr>
          <p:cNvPr id="2" name="Google Shape;290;p9">
            <a:extLst>
              <a:ext uri="{FF2B5EF4-FFF2-40B4-BE49-F238E27FC236}">
                <a16:creationId xmlns:a16="http://schemas.microsoft.com/office/drawing/2014/main" id="{FD633BB9-ADE0-571E-4198-23E212CFA82F}"/>
              </a:ext>
            </a:extLst>
          </p:cNvPr>
          <p:cNvSpPr txBox="1"/>
          <p:nvPr/>
        </p:nvSpPr>
        <p:spPr>
          <a:xfrm>
            <a:off x="2627784" y="3418735"/>
            <a:ext cx="2664296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95AF"/>
              </a:buClr>
              <a:buSzPts val="4800"/>
              <a:buFont typeface="Dosis"/>
              <a:buNone/>
            </a:pPr>
            <a:r>
              <a:rPr lang="ar-MA" sz="2400" b="1" i="0" u="none" strike="noStrike" cap="none" dirty="0">
                <a:solidFill>
                  <a:srgbClr val="3795A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Dosis"/>
              </a:rPr>
              <a:t>نشاط اعتيادي</a:t>
            </a:r>
            <a:endParaRPr sz="1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Google Shape;291;p9">
            <a:extLst>
              <a:ext uri="{FF2B5EF4-FFF2-40B4-BE49-F238E27FC236}">
                <a16:creationId xmlns:a16="http://schemas.microsoft.com/office/drawing/2014/main" id="{52FE77C1-5A7F-E33C-5861-996FC5515D6B}"/>
              </a:ext>
            </a:extLst>
          </p:cNvPr>
          <p:cNvPicPr preferRelativeResize="0"/>
          <p:nvPr/>
        </p:nvPicPr>
        <p:blipFill rotWithShape="1">
          <a:blip r:embed="rId7">
            <a:alphaModFix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 flipH="1">
            <a:off x="5868144" y="3404153"/>
            <a:ext cx="789308" cy="44032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61257426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73C125B-6AB8-6949-96C1-A1E9077DF0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B4E21443-E690-0A56-BFA6-288E9CA47797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7">
            <a:extLst>
              <a:ext uri="{FF2B5EF4-FFF2-40B4-BE49-F238E27FC236}">
                <a16:creationId xmlns:a16="http://schemas.microsoft.com/office/drawing/2014/main" id="{1376E6B1-B0BC-7870-A005-EE9FE8B5551A}"/>
              </a:ext>
            </a:extLst>
          </p:cNvPr>
          <p:cNvSpPr txBox="1"/>
          <p:nvPr/>
        </p:nvSpPr>
        <p:spPr>
          <a:xfrm>
            <a:off x="2386049" y="539388"/>
            <a:ext cx="6026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رفعوا الألواح.</a:t>
            </a:r>
            <a:endParaRPr lang="fr-FR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00C93CC2-2A96-50D5-7961-B330A977F26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025" t="14561" r="11389" b="14089"/>
          <a:stretch/>
        </p:blipFill>
        <p:spPr>
          <a:xfrm>
            <a:off x="395536" y="540000"/>
            <a:ext cx="908902" cy="646331"/>
          </a:xfrm>
          <a:prstGeom prst="round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BF063C54-17DB-61F2-1EEA-95F8925D9B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13696" y="2169000"/>
            <a:ext cx="3768019" cy="2700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2026693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C257C65-B620-7FD2-849F-87371E8CB9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7A8E614D-DB30-9210-7A71-41B63E3013F0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2" name="ZoneTexte 7">
            <a:extLst>
              <a:ext uri="{FF2B5EF4-FFF2-40B4-BE49-F238E27FC236}">
                <a16:creationId xmlns:a16="http://schemas.microsoft.com/office/drawing/2014/main" id="{24B897E7-6855-5B27-B230-60C4D46953C0}"/>
              </a:ext>
            </a:extLst>
          </p:cNvPr>
          <p:cNvSpPr txBox="1"/>
          <p:nvPr/>
        </p:nvSpPr>
        <p:spPr>
          <a:xfrm>
            <a:off x="2386049" y="539388"/>
            <a:ext cx="60261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سأختار أحد  التلاميذ ليقوم إلى السبورة ويشرح لنا كيف قام بذلك.</a:t>
            </a:r>
          </a:p>
          <a:p>
            <a:pPr algn="r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نصحح. العدد 5 هو كذلك 4 و1.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00F5D0FC-BFF3-F4C1-17BA-6E7B8042A0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140" y="361770"/>
            <a:ext cx="1569466" cy="111969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E5CCF86F-9BF3-1D8B-8165-CC5FADAF8F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5033" y="2555378"/>
            <a:ext cx="8473933" cy="2253951"/>
          </a:xfrm>
          <a:prstGeom prst="rect">
            <a:avLst/>
          </a:prstGeom>
        </p:spPr>
      </p:pic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B41FBF57-6778-8FB4-FCA5-7A0A0CCE93FE}"/>
              </a:ext>
            </a:extLst>
          </p:cNvPr>
          <p:cNvSpPr/>
          <p:nvPr/>
        </p:nvSpPr>
        <p:spPr>
          <a:xfrm>
            <a:off x="7139291" y="2920181"/>
            <a:ext cx="1512168" cy="1889148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EFF30602-1090-2370-B73E-CC0E819E3CE2}"/>
              </a:ext>
            </a:extLst>
          </p:cNvPr>
          <p:cNvSpPr txBox="1"/>
          <p:nvPr/>
        </p:nvSpPr>
        <p:spPr>
          <a:xfrm>
            <a:off x="785326" y="3903786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1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BEC7853F-6102-D93A-DB7C-2F343E4FA12C}"/>
              </a:ext>
            </a:extLst>
          </p:cNvPr>
          <p:cNvSpPr txBox="1"/>
          <p:nvPr/>
        </p:nvSpPr>
        <p:spPr>
          <a:xfrm>
            <a:off x="1502823" y="3893954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4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EFB673FA-E397-20CE-E4D9-0372EA20698C}"/>
              </a:ext>
            </a:extLst>
          </p:cNvPr>
          <p:cNvSpPr txBox="1"/>
          <p:nvPr/>
        </p:nvSpPr>
        <p:spPr>
          <a:xfrm>
            <a:off x="2977332" y="3938201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2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B8BC851D-3552-9789-90F3-EBD6B729344E}"/>
              </a:ext>
            </a:extLst>
          </p:cNvPr>
          <p:cNvSpPr txBox="1"/>
          <p:nvPr/>
        </p:nvSpPr>
        <p:spPr>
          <a:xfrm>
            <a:off x="3690622" y="3938201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3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4EF37831-ED03-AE88-811F-2BB86D0CA3C5}"/>
              </a:ext>
            </a:extLst>
          </p:cNvPr>
          <p:cNvSpPr txBox="1"/>
          <p:nvPr/>
        </p:nvSpPr>
        <p:spPr>
          <a:xfrm>
            <a:off x="5160363" y="3957865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3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8BD60048-356D-8FCC-F4BB-FAD1183BF8C5}"/>
              </a:ext>
            </a:extLst>
          </p:cNvPr>
          <p:cNvSpPr txBox="1"/>
          <p:nvPr/>
        </p:nvSpPr>
        <p:spPr>
          <a:xfrm>
            <a:off x="5879190" y="3938201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2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3238CA9F-295A-A9F1-4EAC-D460719DBE0D}"/>
              </a:ext>
            </a:extLst>
          </p:cNvPr>
          <p:cNvSpPr txBox="1"/>
          <p:nvPr/>
        </p:nvSpPr>
        <p:spPr>
          <a:xfrm>
            <a:off x="7343394" y="3925945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4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D14AD474-4739-9499-8CAF-1B6D9C9F5DED}"/>
              </a:ext>
            </a:extLst>
          </p:cNvPr>
          <p:cNvSpPr txBox="1"/>
          <p:nvPr/>
        </p:nvSpPr>
        <p:spPr>
          <a:xfrm>
            <a:off x="8067758" y="3925945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1</a:t>
            </a:r>
            <a:endParaRPr lang="fr-FR" sz="28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5880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4242D67-BFEF-4B5D-3DE1-15CAC9D607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242D67-BFEF-4B5D-3DE1-15CAC9D607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/>
        </p:nvSpPr>
        <p:spPr>
          <a:xfrm>
            <a:off x="0" y="12032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t="-5555" b="-5555"/>
            </a:stretch>
          </a:blipFill>
        </p:spPr>
        <p:txBody>
          <a:bodyPr/>
          <a:lstStyle/>
          <a:p>
            <a:endParaRPr lang="fr-MA" sz="900">
              <a:latin typeface="Dosis" pitchFamily="2" charset="0"/>
            </a:endParaRPr>
          </a:p>
        </p:txBody>
      </p:sp>
      <p:sp>
        <p:nvSpPr>
          <p:cNvPr id="2" name="Ellipse 62">
            <a:extLst>
              <a:ext uri="{FF2B5EF4-FFF2-40B4-BE49-F238E27FC236}">
                <a16:creationId xmlns:a16="http://schemas.microsoft.com/office/drawing/2014/main" id="{93616742-0B9E-A7E2-14DE-DF310769E8D3}"/>
              </a:ext>
            </a:extLst>
          </p:cNvPr>
          <p:cNvSpPr/>
          <p:nvPr/>
        </p:nvSpPr>
        <p:spPr>
          <a:xfrm>
            <a:off x="1196648" y="46409"/>
            <a:ext cx="6811591" cy="6811591"/>
          </a:xfrm>
          <a:prstGeom prst="ellipse">
            <a:avLst/>
          </a:prstGeom>
          <a:solidFill>
            <a:srgbClr val="D6E9EA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6" name="TextBox 6"/>
          <p:cNvSpPr txBox="1"/>
          <p:nvPr/>
        </p:nvSpPr>
        <p:spPr>
          <a:xfrm>
            <a:off x="1574801" y="2260600"/>
            <a:ext cx="6444063" cy="6779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rtl="1">
              <a:lnSpc>
                <a:spcPts val="5486"/>
              </a:lnSpc>
            </a:pPr>
            <a:r>
              <a:rPr lang="ar-MA" sz="4400" b="1" dirty="0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4. أنشطة التدرب</a:t>
            </a:r>
          </a:p>
        </p:txBody>
      </p:sp>
      <p:sp>
        <p:nvSpPr>
          <p:cNvPr id="9" name="Freeform 9"/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endParaRPr lang="fr-MA" sz="428">
              <a:latin typeface="Dosis" pitchFamily="2" charset="0"/>
            </a:endParaRPr>
          </a:p>
        </p:txBody>
      </p:sp>
      <p:sp>
        <p:nvSpPr>
          <p:cNvPr id="10" name="Freeform 10"/>
          <p:cNvSpPr/>
          <p:nvPr/>
        </p:nvSpPr>
        <p:spPr>
          <a:xfrm>
            <a:off x="7804155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endParaRPr lang="fr-MA" sz="428">
              <a:latin typeface="Dosis" pitchFamily="2" charset="0"/>
            </a:endParaRPr>
          </a:p>
        </p:txBody>
      </p:sp>
      <p:pic>
        <p:nvPicPr>
          <p:cNvPr id="5" name="Image 12">
            <a:extLst>
              <a:ext uri="{FF2B5EF4-FFF2-40B4-BE49-F238E27FC236}">
                <a16:creationId xmlns:a16="http://schemas.microsoft.com/office/drawing/2014/main" id="{6B648B92-E3C8-11B4-4206-CC50215B1848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 rot="10800000" flipV="1">
            <a:off x="5838706" y="3483354"/>
            <a:ext cx="812326" cy="44970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E1D4593-8EE1-8254-4D60-5DCB88F8CCD4}"/>
              </a:ext>
            </a:extLst>
          </p:cNvPr>
          <p:cNvSpPr/>
          <p:nvPr/>
        </p:nvSpPr>
        <p:spPr>
          <a:xfrm>
            <a:off x="2843808" y="3134311"/>
            <a:ext cx="3708400" cy="1066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34" rtl="1">
              <a:lnSpc>
                <a:spcPts val="5486"/>
              </a:lnSpc>
              <a:defRPr/>
            </a:pPr>
            <a:r>
              <a:rPr lang="ar-MA" sz="3200" b="1" dirty="0">
                <a:solidFill>
                  <a:srgbClr val="3795AF"/>
                </a:solidFill>
                <a:latin typeface="Dosis" pitchFamily="2" charset="0"/>
                <a:cs typeface="Calibri" panose="020F0502020204030204" pitchFamily="34" charset="0"/>
              </a:rPr>
              <a:t>أنجز بمفردي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9EBC916A-F775-D342-2ACD-FC9A6A9F4E5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921904" y="4408743"/>
            <a:ext cx="1428239" cy="1848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845867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9B754BD-B770-ADC7-B9ED-36AC932D4F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 15">
            <a:extLst>
              <a:ext uri="{FF2B5EF4-FFF2-40B4-BE49-F238E27FC236}">
                <a16:creationId xmlns:a16="http://schemas.microsoft.com/office/drawing/2014/main" id="{A2A6B16E-871B-2A6A-22A4-941F1AD965D4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5649BC64-9A82-EC7D-9E67-72FDA1798F41}"/>
              </a:ext>
            </a:extLst>
          </p:cNvPr>
          <p:cNvSpPr txBox="1"/>
          <p:nvPr/>
        </p:nvSpPr>
        <p:spPr>
          <a:xfrm>
            <a:off x="1439016" y="500019"/>
            <a:ext cx="71448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كل واحد منكم سينجز النشاط 6 بمفرده. سأمر بين الصفوف.</a:t>
            </a:r>
            <a:endParaRPr lang="fr-FR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r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ساعدتكم بكتابة الجزء الأول من التفكيك في الدوائر الحمراء.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723379E3-1BA5-1BF8-746E-90ACEFBB52F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8249" y="567451"/>
            <a:ext cx="1224136" cy="1124108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A88402FB-9052-BBA1-892B-267EFE32232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5890" y="1900194"/>
            <a:ext cx="8451884" cy="3869464"/>
          </a:xfrm>
          <a:prstGeom prst="rect">
            <a:avLst/>
          </a:prstGeom>
        </p:spPr>
      </p:pic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FC8C37B2-38D5-C2E0-B798-F3FF94D21FB1}"/>
              </a:ext>
            </a:extLst>
          </p:cNvPr>
          <p:cNvSpPr/>
          <p:nvPr/>
        </p:nvSpPr>
        <p:spPr>
          <a:xfrm>
            <a:off x="293703" y="1744490"/>
            <a:ext cx="8556594" cy="4243355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89CD51BB-A6DF-8818-1228-8386B7BC4DAE}"/>
              </a:ext>
            </a:extLst>
          </p:cNvPr>
          <p:cNvSpPr txBox="1"/>
          <p:nvPr/>
        </p:nvSpPr>
        <p:spPr>
          <a:xfrm>
            <a:off x="1439016" y="3292042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1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AA887F25-1689-A454-4161-C0A93E2F58CF}"/>
              </a:ext>
            </a:extLst>
          </p:cNvPr>
          <p:cNvSpPr txBox="1"/>
          <p:nvPr/>
        </p:nvSpPr>
        <p:spPr>
          <a:xfrm>
            <a:off x="4069144" y="3282555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1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BD674829-1711-946C-1848-CC699CD05132}"/>
              </a:ext>
            </a:extLst>
          </p:cNvPr>
          <p:cNvSpPr txBox="1"/>
          <p:nvPr/>
        </p:nvSpPr>
        <p:spPr>
          <a:xfrm>
            <a:off x="6699272" y="3273068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2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86D4521B-FDD9-6178-98B1-77F826DE76E8}"/>
              </a:ext>
            </a:extLst>
          </p:cNvPr>
          <p:cNvSpPr txBox="1"/>
          <p:nvPr/>
        </p:nvSpPr>
        <p:spPr>
          <a:xfrm>
            <a:off x="846788" y="4948778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3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7C4FB8DD-BF9C-8AC2-185A-E8A3D3B8160D}"/>
              </a:ext>
            </a:extLst>
          </p:cNvPr>
          <p:cNvSpPr txBox="1"/>
          <p:nvPr/>
        </p:nvSpPr>
        <p:spPr>
          <a:xfrm>
            <a:off x="2978095" y="4948778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2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DE3D5598-25BF-9DFD-D9F7-CD019E225998}"/>
              </a:ext>
            </a:extLst>
          </p:cNvPr>
          <p:cNvSpPr txBox="1"/>
          <p:nvPr/>
        </p:nvSpPr>
        <p:spPr>
          <a:xfrm>
            <a:off x="5109402" y="4948778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3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5F366461-DC6D-EB0A-261F-41D0EE69463B}"/>
              </a:ext>
            </a:extLst>
          </p:cNvPr>
          <p:cNvSpPr txBox="1"/>
          <p:nvPr/>
        </p:nvSpPr>
        <p:spPr>
          <a:xfrm>
            <a:off x="7240709" y="4948778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4</a:t>
            </a:r>
            <a:endParaRPr lang="fr-FR" sz="28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2262612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59D2E97-FB0D-630A-411D-31FEE3A48B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Image 26">
            <a:extLst>
              <a:ext uri="{FF2B5EF4-FFF2-40B4-BE49-F238E27FC236}">
                <a16:creationId xmlns:a16="http://schemas.microsoft.com/office/drawing/2014/main" id="{56DF599E-B243-EE75-BD1C-9460DE878580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606CD232-E49F-55E1-2BFE-EABB1E88B471}"/>
              </a:ext>
            </a:extLst>
          </p:cNvPr>
          <p:cNvSpPr txBox="1"/>
          <p:nvPr/>
        </p:nvSpPr>
        <p:spPr>
          <a:xfrm>
            <a:off x="1387558" y="540215"/>
            <a:ext cx="71448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نصحح.</a:t>
            </a:r>
          </a:p>
          <a:p>
            <a:pPr algn="r"/>
            <a:r>
              <a:rPr lang="ar-MA" i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يتفاعل المدرس(ة) مع التلاميذ أثناء التصحيح.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16513F4A-E5BD-44EB-268F-580E30F776B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613" y="564882"/>
            <a:ext cx="1224769" cy="87571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13DEBFE3-FAA5-9B85-FE0A-F42977E252D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5890" y="1900194"/>
            <a:ext cx="8451884" cy="3869464"/>
          </a:xfrm>
          <a:prstGeom prst="rect">
            <a:avLst/>
          </a:prstGeom>
        </p:spPr>
      </p:pic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073F9DFB-69D9-DB0C-DFB7-0EC660A55E3A}"/>
              </a:ext>
            </a:extLst>
          </p:cNvPr>
          <p:cNvSpPr/>
          <p:nvPr/>
        </p:nvSpPr>
        <p:spPr>
          <a:xfrm>
            <a:off x="293703" y="1744490"/>
            <a:ext cx="8556594" cy="4243355"/>
          </a:xfrm>
          <a:prstGeom prst="roundRect">
            <a:avLst>
              <a:gd name="adj" fmla="val 751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BAD65051-9E85-761C-E323-F0D0C6A3C37D}"/>
              </a:ext>
            </a:extLst>
          </p:cNvPr>
          <p:cNvSpPr txBox="1"/>
          <p:nvPr/>
        </p:nvSpPr>
        <p:spPr>
          <a:xfrm>
            <a:off x="1439016" y="3292042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1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099066D6-F77A-B581-BCB0-5C049C1C39D6}"/>
              </a:ext>
            </a:extLst>
          </p:cNvPr>
          <p:cNvSpPr txBox="1"/>
          <p:nvPr/>
        </p:nvSpPr>
        <p:spPr>
          <a:xfrm>
            <a:off x="4069144" y="3282555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1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520C5014-7740-17D1-F469-7890718EFC6E}"/>
              </a:ext>
            </a:extLst>
          </p:cNvPr>
          <p:cNvSpPr txBox="1"/>
          <p:nvPr/>
        </p:nvSpPr>
        <p:spPr>
          <a:xfrm>
            <a:off x="6699272" y="3273068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2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4B045763-1027-BC89-9D93-56B474541EAB}"/>
              </a:ext>
            </a:extLst>
          </p:cNvPr>
          <p:cNvSpPr txBox="1"/>
          <p:nvPr/>
        </p:nvSpPr>
        <p:spPr>
          <a:xfrm>
            <a:off x="846788" y="4948778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3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99968965-3D9E-6894-E6FD-64E43C8B3A9C}"/>
              </a:ext>
            </a:extLst>
          </p:cNvPr>
          <p:cNvSpPr txBox="1"/>
          <p:nvPr/>
        </p:nvSpPr>
        <p:spPr>
          <a:xfrm>
            <a:off x="2978095" y="4948778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2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5AC53DD8-58D3-CFB7-2169-24EB362FE971}"/>
              </a:ext>
            </a:extLst>
          </p:cNvPr>
          <p:cNvSpPr txBox="1"/>
          <p:nvPr/>
        </p:nvSpPr>
        <p:spPr>
          <a:xfrm>
            <a:off x="5109402" y="4948778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3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9E855907-4864-AA30-359B-9723724D20C0}"/>
              </a:ext>
            </a:extLst>
          </p:cNvPr>
          <p:cNvSpPr txBox="1"/>
          <p:nvPr/>
        </p:nvSpPr>
        <p:spPr>
          <a:xfrm>
            <a:off x="7221045" y="4948778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4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15DC8B86-F33A-E7BD-A566-2D7E03067D3F}"/>
              </a:ext>
            </a:extLst>
          </p:cNvPr>
          <p:cNvSpPr txBox="1"/>
          <p:nvPr/>
        </p:nvSpPr>
        <p:spPr>
          <a:xfrm>
            <a:off x="2153163" y="3282555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4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64F13B3D-376F-6E6F-EE3C-BDD9AA8348BB}"/>
              </a:ext>
            </a:extLst>
          </p:cNvPr>
          <p:cNvSpPr txBox="1"/>
          <p:nvPr/>
        </p:nvSpPr>
        <p:spPr>
          <a:xfrm>
            <a:off x="4783291" y="3292042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3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260CB0BD-5DD8-5BEF-14C6-48D69F410D15}"/>
              </a:ext>
            </a:extLst>
          </p:cNvPr>
          <p:cNvSpPr txBox="1"/>
          <p:nvPr/>
        </p:nvSpPr>
        <p:spPr>
          <a:xfrm>
            <a:off x="7433230" y="3273414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2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ECB5B92-6E43-5AE0-8E0B-922827A53473}"/>
              </a:ext>
            </a:extLst>
          </p:cNvPr>
          <p:cNvSpPr txBox="1"/>
          <p:nvPr/>
        </p:nvSpPr>
        <p:spPr>
          <a:xfrm>
            <a:off x="1577759" y="4948778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1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5FBC08F0-B398-052A-3DD4-8C28F35606AB}"/>
              </a:ext>
            </a:extLst>
          </p:cNvPr>
          <p:cNvSpPr txBox="1"/>
          <p:nvPr/>
        </p:nvSpPr>
        <p:spPr>
          <a:xfrm>
            <a:off x="3688202" y="4948778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3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0893E82E-ADAE-3995-B989-F7248B3ACC82}"/>
              </a:ext>
            </a:extLst>
          </p:cNvPr>
          <p:cNvSpPr txBox="1"/>
          <p:nvPr/>
        </p:nvSpPr>
        <p:spPr>
          <a:xfrm>
            <a:off x="5819509" y="4948778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2</a:t>
            </a:r>
            <a:endParaRPr lang="fr-FR" sz="2800" b="1" dirty="0">
              <a:solidFill>
                <a:srgbClr val="0070C0"/>
              </a:solidFill>
            </a:endParaRP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9070FB74-F938-B905-6A99-46097C402A54}"/>
              </a:ext>
            </a:extLst>
          </p:cNvPr>
          <p:cNvSpPr txBox="1"/>
          <p:nvPr/>
        </p:nvSpPr>
        <p:spPr>
          <a:xfrm>
            <a:off x="7918220" y="4948778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ar-MA" sz="2800" b="1" dirty="0">
                <a:solidFill>
                  <a:srgbClr val="0070C0"/>
                </a:solidFill>
              </a:rPr>
              <a:t>1</a:t>
            </a:r>
            <a:endParaRPr lang="fr-FR" sz="28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45036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1" grpId="0"/>
      <p:bldP spid="22" grpId="0"/>
      <p:bldP spid="23" grpId="0"/>
      <p:bldP spid="24" grpId="0"/>
      <p:bldP spid="25" grpId="0"/>
      <p:bldP spid="26" grpId="0"/>
    </p:bld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3E48B176-737A-9792-E08B-7DC87159D4FE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5555" b="-5555"/>
            </a:stretch>
          </a:blipFill>
        </p:spPr>
        <p:txBody>
          <a:bodyPr/>
          <a:lstStyle/>
          <a:p>
            <a:endParaRPr lang="fr-MA" sz="900">
              <a:latin typeface="Dosis" pitchFamily="2" charset="0"/>
            </a:endParaRPr>
          </a:p>
        </p:txBody>
      </p:sp>
      <p:sp>
        <p:nvSpPr>
          <p:cNvPr id="2" name="Ellipse 62">
            <a:extLst>
              <a:ext uri="{FF2B5EF4-FFF2-40B4-BE49-F238E27FC236}">
                <a16:creationId xmlns:a16="http://schemas.microsoft.com/office/drawing/2014/main" id="{FD4561E1-693D-F1CD-DF17-929DA64BE9B9}"/>
              </a:ext>
            </a:extLst>
          </p:cNvPr>
          <p:cNvSpPr/>
          <p:nvPr/>
        </p:nvSpPr>
        <p:spPr>
          <a:xfrm>
            <a:off x="1331640" y="0"/>
            <a:ext cx="6811591" cy="6811591"/>
          </a:xfrm>
          <a:prstGeom prst="ellipse">
            <a:avLst/>
          </a:prstGeom>
          <a:solidFill>
            <a:srgbClr val="D6E9EA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6" name="TextBox 6"/>
          <p:cNvSpPr txBox="1"/>
          <p:nvPr/>
        </p:nvSpPr>
        <p:spPr>
          <a:xfrm>
            <a:off x="1574801" y="2717800"/>
            <a:ext cx="6444063" cy="6779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rtl="1">
              <a:lnSpc>
                <a:spcPts val="5486"/>
              </a:lnSpc>
            </a:pPr>
            <a:r>
              <a:rPr lang="ar-MA" sz="4400" b="1">
                <a:solidFill>
                  <a:srgbClr val="10658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. اختتام الحصة</a:t>
            </a:r>
            <a:endParaRPr lang="ar-MA" sz="1600" b="1">
              <a:solidFill>
                <a:srgbClr val="106585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reeform 9"/>
          <p:cNvSpPr/>
          <p:nvPr/>
        </p:nvSpPr>
        <p:spPr>
          <a:xfrm>
            <a:off x="21422" y="5622104"/>
            <a:ext cx="995130" cy="1233596"/>
          </a:xfrm>
          <a:custGeom>
            <a:avLst/>
            <a:gdLst/>
            <a:ahLst/>
            <a:cxnLst/>
            <a:rect l="l" t="t" r="r" b="b"/>
            <a:pathLst>
              <a:path w="2684349" h="3327606">
                <a:moveTo>
                  <a:pt x="0" y="0"/>
                </a:moveTo>
                <a:lnTo>
                  <a:pt x="2684349" y="0"/>
                </a:lnTo>
                <a:lnTo>
                  <a:pt x="2684349" y="3327606"/>
                </a:lnTo>
                <a:lnTo>
                  <a:pt x="0" y="3327606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157570" t="-6438" b="-44673"/>
            </a:stretch>
          </a:blipFill>
          <a:ln>
            <a:noFill/>
          </a:ln>
        </p:spPr>
        <p:txBody>
          <a:bodyPr/>
          <a:lstStyle/>
          <a:p>
            <a:endParaRPr lang="fr-MA" sz="428">
              <a:latin typeface="Dosis" pitchFamily="2" charset="0"/>
            </a:endParaRPr>
          </a:p>
        </p:txBody>
      </p:sp>
      <p:sp>
        <p:nvSpPr>
          <p:cNvPr id="10" name="Freeform 10"/>
          <p:cNvSpPr/>
          <p:nvPr/>
        </p:nvSpPr>
        <p:spPr>
          <a:xfrm>
            <a:off x="7804155" y="5463344"/>
            <a:ext cx="1318425" cy="1392356"/>
          </a:xfrm>
          <a:custGeom>
            <a:avLst/>
            <a:gdLst/>
            <a:ahLst/>
            <a:cxnLst/>
            <a:rect l="l" t="t" r="r" b="b"/>
            <a:pathLst>
              <a:path w="3556432" h="3755858">
                <a:moveTo>
                  <a:pt x="0" y="0"/>
                </a:moveTo>
                <a:lnTo>
                  <a:pt x="3556432" y="0"/>
                </a:lnTo>
                <a:lnTo>
                  <a:pt x="3556432" y="3755858"/>
                </a:lnTo>
                <a:lnTo>
                  <a:pt x="0" y="375585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l="-4351" t="-332" r="-93446" b="-41558"/>
            </a:stretch>
          </a:blipFill>
        </p:spPr>
        <p:txBody>
          <a:bodyPr/>
          <a:lstStyle/>
          <a:p>
            <a:endParaRPr lang="fr-MA" sz="428">
              <a:latin typeface="Dosi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0812264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623EF71-714F-A0B5-E916-E924540BD2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Image 45">
            <a:extLst>
              <a:ext uri="{FF2B5EF4-FFF2-40B4-BE49-F238E27FC236}">
                <a16:creationId xmlns:a16="http://schemas.microsoft.com/office/drawing/2014/main" id="{557B3F5A-5A38-912A-908C-9275BA2E1945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ZoneTexte 4">
            <a:extLst>
              <a:ext uri="{FF2B5EF4-FFF2-40B4-BE49-F238E27FC236}">
                <a16:creationId xmlns:a16="http://schemas.microsoft.com/office/drawing/2014/main" id="{B1FD324B-2FA8-B5A1-4D60-50F18059E1A4}"/>
              </a:ext>
            </a:extLst>
          </p:cNvPr>
          <p:cNvSpPr txBox="1"/>
          <p:nvPr/>
        </p:nvSpPr>
        <p:spPr>
          <a:xfrm>
            <a:off x="386095" y="563238"/>
            <a:ext cx="8092279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r" rtl="1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ا الذي تعلمناه اليوم؟ </a:t>
            </a:r>
          </a:p>
        </p:txBody>
      </p:sp>
      <p:pic>
        <p:nvPicPr>
          <p:cNvPr id="27" name="Image 26">
            <a:extLst>
              <a:ext uri="{FF2B5EF4-FFF2-40B4-BE49-F238E27FC236}">
                <a16:creationId xmlns:a16="http://schemas.microsoft.com/office/drawing/2014/main" id="{B3A7583F-BF35-5398-B652-CBF7957581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08658" y="3637937"/>
            <a:ext cx="3726684" cy="2544322"/>
          </a:xfrm>
          <a:prstGeom prst="rect">
            <a:avLst/>
          </a:prstGeom>
        </p:spPr>
      </p:pic>
      <p:pic>
        <p:nvPicPr>
          <p:cNvPr id="45" name="Image 44">
            <a:extLst>
              <a:ext uri="{FF2B5EF4-FFF2-40B4-BE49-F238E27FC236}">
                <a16:creationId xmlns:a16="http://schemas.microsoft.com/office/drawing/2014/main" id="{30863253-5444-3107-1FFB-A43962D4C1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84614" y="1627124"/>
            <a:ext cx="3774772" cy="1170152"/>
          </a:xfrm>
          <a:prstGeom prst="rect">
            <a:avLst/>
          </a:prstGeom>
        </p:spPr>
      </p:pic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C146A5BA-9992-73C6-9487-40682ABA2EDE}"/>
              </a:ext>
            </a:extLst>
          </p:cNvPr>
          <p:cNvCxnSpPr/>
          <p:nvPr/>
        </p:nvCxnSpPr>
        <p:spPr>
          <a:xfrm>
            <a:off x="2866103" y="3224979"/>
            <a:ext cx="3411794" cy="0"/>
          </a:xfrm>
          <a:prstGeom prst="line">
            <a:avLst/>
          </a:prstGeom>
          <a:ln>
            <a:solidFill>
              <a:schemeClr val="accent1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99231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4D9FBC4-7A35-4107-DD93-5DD8FED9D6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BC688830-5F78-3F6A-07FF-25D26CF9B726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2" name="Picture 9">
            <a:extLst>
              <a:ext uri="{FF2B5EF4-FFF2-40B4-BE49-F238E27FC236}">
                <a16:creationId xmlns:a16="http://schemas.microsoft.com/office/drawing/2014/main" id="{C94827C3-2196-10E3-BA9C-D08BAEE2EB4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95720" y="1491418"/>
            <a:ext cx="3416785" cy="476551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" name="Picture 6">
            <a:extLst>
              <a:ext uri="{FF2B5EF4-FFF2-40B4-BE49-F238E27FC236}">
                <a16:creationId xmlns:a16="http://schemas.microsoft.com/office/drawing/2014/main" id="{66038B6C-AD40-09D6-B303-B619550392A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57" b="1957"/>
          <a:stretch/>
        </p:blipFill>
        <p:spPr>
          <a:xfrm>
            <a:off x="755576" y="1439036"/>
            <a:ext cx="3626473" cy="487028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ZoneTexte 4">
            <a:extLst>
              <a:ext uri="{FF2B5EF4-FFF2-40B4-BE49-F238E27FC236}">
                <a16:creationId xmlns:a16="http://schemas.microsoft.com/office/drawing/2014/main" id="{2847F445-0034-73EA-7EC6-54999794235D}"/>
              </a:ext>
            </a:extLst>
          </p:cNvPr>
          <p:cNvSpPr txBox="1"/>
          <p:nvPr/>
        </p:nvSpPr>
        <p:spPr>
          <a:xfrm>
            <a:off x="474691" y="572745"/>
            <a:ext cx="7985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rtl="1"/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نتبهوا جيدا</a:t>
            </a:r>
            <a:r>
              <a:rPr lang="fr-FR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! </a:t>
            </a:r>
            <a:r>
              <a:rPr lang="ar-MA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في المنزل، ستنجزون كل الأنشطة المتبقية على الصفحتين: 14 و15.</a:t>
            </a:r>
            <a:endParaRPr lang="fr-MA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5465306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776FFED-540A-74E8-CC1A-522314CB3F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50FB4FDB-0E10-AA0C-6037-044F45C4FB77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B7A082CD-4722-124F-25AE-26949F09544D}"/>
              </a:ext>
            </a:extLst>
          </p:cNvPr>
          <p:cNvSpPr txBox="1"/>
          <p:nvPr/>
        </p:nvSpPr>
        <p:spPr>
          <a:xfrm>
            <a:off x="304798" y="560851"/>
            <a:ext cx="82492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إلى اللقاء في الحصة القادمة.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7F57BD76-24C5-1059-AD44-83C35D96CB5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3768" y="2132856"/>
            <a:ext cx="3348436" cy="3096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6127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3C1171B-7DA8-2842-0EF5-E009E48F79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7C0F6729-E522-DE33-B3A9-7EEF98402CB1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2FFE84DF-8EC2-7EF5-2C60-AA66924D2BFF}"/>
              </a:ext>
            </a:extLst>
          </p:cNvPr>
          <p:cNvSpPr txBox="1"/>
          <p:nvPr/>
        </p:nvSpPr>
        <p:spPr>
          <a:xfrm>
            <a:off x="720000" y="549904"/>
            <a:ext cx="7806610" cy="392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rtl="1">
              <a:lnSpc>
                <a:spcPct val="115000"/>
              </a:lnSpc>
              <a:spcAft>
                <a:spcPts val="800"/>
              </a:spcAft>
            </a:pPr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مرحبا أبنائي</a:t>
            </a:r>
            <a:r>
              <a:rPr lang="ar-S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، </a:t>
            </a:r>
            <a:r>
              <a:rPr lang="ar-MA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سنبدأ درس اليوم</a:t>
            </a:r>
            <a:endParaRPr lang="fr-MA" b="1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DD8013B0-8EE1-1C3A-5FDF-ED9DA08EE226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822824" y="2169000"/>
            <a:ext cx="3498353" cy="25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5239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heme/theme1.xml><?xml version="1.0" encoding="utf-8"?>
<a:theme xmlns:a="http://schemas.openxmlformats.org/drawingml/2006/main" name="Office 2013 - 2022 Theme">
  <a:themeElements>
    <a:clrScheme name="Office 2013 - 2022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2013 - 2022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13 - 2022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72</TotalTime>
  <Words>1326</Words>
  <Application>Microsoft Office PowerPoint</Application>
  <PresentationFormat>Affichage à l'écran (4:3)</PresentationFormat>
  <Paragraphs>340</Paragraphs>
  <Slides>88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8</vt:i4>
      </vt:variant>
    </vt:vector>
  </HeadingPairs>
  <TitlesOfParts>
    <vt:vector size="100" baseType="lpstr">
      <vt:lpstr>Microsoft Uighur</vt:lpstr>
      <vt:lpstr>Aptos</vt:lpstr>
      <vt:lpstr>A Massir Ballpoint</vt:lpstr>
      <vt:lpstr>Air Strip Arabic</vt:lpstr>
      <vt:lpstr>Dosis</vt:lpstr>
      <vt:lpstr>Calibri Light</vt:lpstr>
      <vt:lpstr>Cambria</vt:lpstr>
      <vt:lpstr>BelleAllureCE</vt:lpstr>
      <vt:lpstr>Calibri</vt:lpstr>
      <vt:lpstr>Arial</vt:lpstr>
      <vt:lpstr>Office 2013 - 2022 Theme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ohamed Ibissi</dc:creator>
  <cp:lastModifiedBy>Mohamed Ibissi</cp:lastModifiedBy>
  <cp:revision>6</cp:revision>
  <dcterms:created xsi:type="dcterms:W3CDTF">2024-11-06T21:41:27Z</dcterms:created>
  <dcterms:modified xsi:type="dcterms:W3CDTF">2024-11-12T21:38:30Z</dcterms:modified>
</cp:coreProperties>
</file>